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3">
  <p:sldMasterIdLst>
    <p:sldMasterId id="2147483705" r:id="rId1"/>
  </p:sldMasterIdLst>
  <p:notesMasterIdLst>
    <p:notesMasterId r:id="rId19"/>
  </p:notesMasterIdLst>
  <p:handoutMasterIdLst>
    <p:handoutMasterId r:id="rId20"/>
  </p:handoutMasterIdLst>
  <p:sldIdLst>
    <p:sldId id="257" r:id="rId2"/>
    <p:sldId id="262" r:id="rId3"/>
    <p:sldId id="267" r:id="rId4"/>
    <p:sldId id="261" r:id="rId5"/>
    <p:sldId id="264" r:id="rId6"/>
    <p:sldId id="275" r:id="rId7"/>
    <p:sldId id="265" r:id="rId8"/>
    <p:sldId id="269" r:id="rId9"/>
    <p:sldId id="270" r:id="rId10"/>
    <p:sldId id="271" r:id="rId11"/>
    <p:sldId id="272" r:id="rId12"/>
    <p:sldId id="273" r:id="rId13"/>
    <p:sldId id="276" r:id="rId14"/>
    <p:sldId id="263" r:id="rId15"/>
    <p:sldId id="266" r:id="rId16"/>
    <p:sldId id="260" r:id="rId17"/>
    <p:sldId id="258" r:id="rId18"/>
  </p:sldIdLst>
  <p:sldSz cx="9144000" cy="5143500" type="screen16x9"/>
  <p:notesSz cx="7104063" cy="10234613"/>
  <p:custDataLst>
    <p:tags r:id="rId21"/>
  </p:custDataLst>
  <p:defaultTextStyle>
    <a:defPPr>
      <a:defRPr lang="nb-N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uigi Costa" initials="LXC" lastIdx="1" clrIdx="6">
    <p:extLst/>
  </p:cmAuthor>
  <p:cmAuthor id="1" name="Marco Renoldi" initials="MR" lastIdx="31" clrIdx="0">
    <p:extLst/>
  </p:cmAuthor>
  <p:cmAuthor id="8" name="Luigi Costa" initials="LXC [2]" lastIdx="1" clrIdx="7">
    <p:extLst/>
  </p:cmAuthor>
  <p:cmAuthor id="2" name="Ingunn Christine Munch Lindvig" initials="ICML" lastIdx="4" clrIdx="1">
    <p:extLst/>
  </p:cmAuthor>
  <p:cmAuthor id="9" name="Luigi Costa" initials="LXC [3]" lastIdx="1" clrIdx="8">
    <p:extLst/>
  </p:cmAuthor>
  <p:cmAuthor id="3" name="David Dible" initials="DD" lastIdx="17" clrIdx="2"/>
  <p:cmAuthor id="10" name="Luigi Costa" initials="LXC [4]" lastIdx="1" clrIdx="9">
    <p:extLst/>
  </p:cmAuthor>
  <p:cmAuthor id="4" name="Mark Swallow" initials="MS" lastIdx="4" clrIdx="3"/>
  <p:cmAuthor id="5" name="Mitra Hagen Negård" initials="MHN" lastIdx="30" clrIdx="4">
    <p:extLst/>
  </p:cmAuthor>
  <p:cmAuthor id="6" name="Tone Kvåle" initials="TK" lastIdx="6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300B"/>
    <a:srgbClr val="A5300F"/>
    <a:srgbClr val="E1CD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ddels stil 2 - aks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27" autoAdjust="0"/>
    <p:restoredTop sz="88274" autoAdjust="0"/>
  </p:normalViewPr>
  <p:slideViewPr>
    <p:cSldViewPr snapToGrid="0">
      <p:cViewPr varScale="1">
        <p:scale>
          <a:sx n="104" d="100"/>
          <a:sy n="104" d="100"/>
        </p:scale>
        <p:origin x="576" y="102"/>
      </p:cViewPr>
      <p:guideLst>
        <p:guide orient="horz" pos="849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0AAFB2C-2B90-4611-820A-D639C583DF2B}" type="doc">
      <dgm:prSet loTypeId="urn:microsoft.com/office/officeart/2005/8/layout/hProcess4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A85A990D-5074-47FA-9BF5-94128E0DE40D}">
      <dgm:prSet phldrT="[Text]" custT="1"/>
      <dgm:spPr/>
      <dgm:t>
        <a:bodyPr/>
        <a:lstStyle/>
        <a:p>
          <a:r>
            <a:rPr lang="nb-NO" sz="1200"/>
            <a:t>Elektroniske systemer</a:t>
          </a:r>
        </a:p>
      </dgm:t>
    </dgm:pt>
    <dgm:pt modelId="{39673CA8-A69B-4A4C-9F5E-8CFD2CA09795}" type="parTrans" cxnId="{ED9B3FBE-4005-43D4-99D2-2B47B8D9DC55}">
      <dgm:prSet/>
      <dgm:spPr/>
      <dgm:t>
        <a:bodyPr/>
        <a:lstStyle/>
        <a:p>
          <a:endParaRPr lang="nb-NO"/>
        </a:p>
      </dgm:t>
    </dgm:pt>
    <dgm:pt modelId="{52E60020-FF4B-4A43-B9FE-EAEF409A2F7E}" type="sibTrans" cxnId="{ED9B3FBE-4005-43D4-99D2-2B47B8D9DC55}">
      <dgm:prSet/>
      <dgm:spPr/>
      <dgm:t>
        <a:bodyPr/>
        <a:lstStyle/>
        <a:p>
          <a:endParaRPr lang="nb-NO"/>
        </a:p>
      </dgm:t>
    </dgm:pt>
    <dgm:pt modelId="{482FE10F-0C43-4F1D-9F2F-629542D17AAC}">
      <dgm:prSet phldrT="[Text]" custT="1"/>
      <dgm:spPr/>
      <dgm:t>
        <a:bodyPr/>
        <a:lstStyle/>
        <a:p>
          <a:r>
            <a:rPr lang="nb-NO" sz="1200"/>
            <a:t>Fangst, forvaltning, bruk</a:t>
          </a:r>
        </a:p>
      </dgm:t>
    </dgm:pt>
    <dgm:pt modelId="{5419510C-92CD-4F13-928B-B57193758F69}" type="parTrans" cxnId="{D953923C-5F5F-4E2D-B4DD-BA6597E39FE0}">
      <dgm:prSet/>
      <dgm:spPr/>
      <dgm:t>
        <a:bodyPr/>
        <a:lstStyle/>
        <a:p>
          <a:endParaRPr lang="nb-NO"/>
        </a:p>
      </dgm:t>
    </dgm:pt>
    <dgm:pt modelId="{420382B7-9E1C-4632-9ED2-2227ABCE6798}" type="sibTrans" cxnId="{D953923C-5F5F-4E2D-B4DD-BA6597E39FE0}">
      <dgm:prSet/>
      <dgm:spPr/>
      <dgm:t>
        <a:bodyPr/>
        <a:lstStyle/>
        <a:p>
          <a:endParaRPr lang="nb-NO"/>
        </a:p>
      </dgm:t>
    </dgm:pt>
    <dgm:pt modelId="{E61A21A5-6E4C-4D00-B25A-06E22BF2DFA2}">
      <dgm:prSet phldrT="[Text]" custT="1"/>
      <dgm:spPr/>
      <dgm:t>
        <a:bodyPr/>
        <a:lstStyle/>
        <a:p>
          <a:r>
            <a:rPr lang="nb-NO" sz="1200"/>
            <a:t>Avlevering</a:t>
          </a:r>
          <a:endParaRPr lang="nb-NO" sz="2300"/>
        </a:p>
      </dgm:t>
    </dgm:pt>
    <dgm:pt modelId="{55522C7A-540C-4574-8403-2AE2C4EC9944}" type="parTrans" cxnId="{4B3264E6-042D-433B-BFE3-79B0E1E3535F}">
      <dgm:prSet/>
      <dgm:spPr/>
      <dgm:t>
        <a:bodyPr/>
        <a:lstStyle/>
        <a:p>
          <a:endParaRPr lang="nb-NO"/>
        </a:p>
      </dgm:t>
    </dgm:pt>
    <dgm:pt modelId="{8E896501-BCA7-4858-8508-A5C3BCACF3FF}" type="sibTrans" cxnId="{4B3264E6-042D-433B-BFE3-79B0E1E3535F}">
      <dgm:prSet/>
      <dgm:spPr/>
      <dgm:t>
        <a:bodyPr/>
        <a:lstStyle/>
        <a:p>
          <a:endParaRPr lang="nb-NO"/>
        </a:p>
      </dgm:t>
    </dgm:pt>
    <dgm:pt modelId="{F4A39C09-8EA6-4EF2-9D3E-44E8660684EC}">
      <dgm:prSet phldrT="[Text]" custT="1"/>
      <dgm:spPr/>
      <dgm:t>
        <a:bodyPr/>
        <a:lstStyle/>
        <a:p>
          <a:r>
            <a:rPr lang="nb-NO" sz="800"/>
            <a:t>Tilgjengelighet av materialet</a:t>
          </a:r>
        </a:p>
      </dgm:t>
    </dgm:pt>
    <dgm:pt modelId="{865F89BC-ADFC-413C-B680-3489B86D4F31}" type="parTrans" cxnId="{96E3A4FE-F86A-4E84-AE19-8CA002D652A6}">
      <dgm:prSet/>
      <dgm:spPr/>
      <dgm:t>
        <a:bodyPr/>
        <a:lstStyle/>
        <a:p>
          <a:endParaRPr lang="nb-NO"/>
        </a:p>
      </dgm:t>
    </dgm:pt>
    <dgm:pt modelId="{8554DE79-7134-441A-9FC5-7CCB5B90BECF}" type="sibTrans" cxnId="{96E3A4FE-F86A-4E84-AE19-8CA002D652A6}">
      <dgm:prSet/>
      <dgm:spPr/>
      <dgm:t>
        <a:bodyPr/>
        <a:lstStyle/>
        <a:p>
          <a:endParaRPr lang="nb-NO"/>
        </a:p>
      </dgm:t>
    </dgm:pt>
    <dgm:pt modelId="{8F88BFF8-F29A-46B4-861A-07E89D71805B}">
      <dgm:prSet phldrT="[Text]" custT="1"/>
      <dgm:spPr/>
      <dgm:t>
        <a:bodyPr/>
        <a:lstStyle/>
        <a:p>
          <a:r>
            <a:rPr lang="nb-NO" sz="800"/>
            <a:t>Bevaring av relevant materiale </a:t>
          </a:r>
        </a:p>
      </dgm:t>
    </dgm:pt>
    <dgm:pt modelId="{51308B4A-4C6A-4A05-BB1F-1CBB865FB727}" type="sibTrans" cxnId="{0A27AB09-584C-4DA7-B451-5167B5E45EBF}">
      <dgm:prSet/>
      <dgm:spPr/>
      <dgm:t>
        <a:bodyPr/>
        <a:lstStyle/>
        <a:p>
          <a:endParaRPr lang="nb-NO"/>
        </a:p>
      </dgm:t>
    </dgm:pt>
    <dgm:pt modelId="{104EBCA2-437B-4FF8-B357-B4E9171DE0B1}" type="parTrans" cxnId="{0A27AB09-584C-4DA7-B451-5167B5E45EBF}">
      <dgm:prSet/>
      <dgm:spPr/>
      <dgm:t>
        <a:bodyPr/>
        <a:lstStyle/>
        <a:p>
          <a:endParaRPr lang="nb-NO"/>
        </a:p>
      </dgm:t>
    </dgm:pt>
    <dgm:pt modelId="{B51F6DCA-4688-4014-B138-685E861DCF36}">
      <dgm:prSet phldrT="[Text]" custT="1"/>
      <dgm:spPr/>
      <dgm:t>
        <a:bodyPr/>
        <a:lstStyle/>
        <a:p>
          <a:endParaRPr lang="nb-NO" sz="800"/>
        </a:p>
      </dgm:t>
    </dgm:pt>
    <dgm:pt modelId="{33B6220A-EE85-43B1-A940-140393862CC1}" type="parTrans" cxnId="{BC12BFB5-5855-4918-B7D1-2401DC85AD2A}">
      <dgm:prSet/>
      <dgm:spPr/>
      <dgm:t>
        <a:bodyPr/>
        <a:lstStyle/>
        <a:p>
          <a:endParaRPr lang="nb-NO"/>
        </a:p>
      </dgm:t>
    </dgm:pt>
    <dgm:pt modelId="{731DD2E9-4806-436A-BD34-3C35CA289E1C}" type="sibTrans" cxnId="{BC12BFB5-5855-4918-B7D1-2401DC85AD2A}">
      <dgm:prSet/>
      <dgm:spPr/>
      <dgm:t>
        <a:bodyPr/>
        <a:lstStyle/>
        <a:p>
          <a:endParaRPr lang="nb-NO"/>
        </a:p>
      </dgm:t>
    </dgm:pt>
    <dgm:pt modelId="{79C1AB9E-5F9A-4E40-AD94-AAE4A10EDAED}">
      <dgm:prSet phldrT="[Text]" custT="1"/>
      <dgm:spPr/>
      <dgm:t>
        <a:bodyPr/>
        <a:lstStyle/>
        <a:p>
          <a:r>
            <a:rPr lang="nb-NO" sz="800"/>
            <a:t>Systemer tilgjengelige for offentlige innkjøpere</a:t>
          </a:r>
        </a:p>
      </dgm:t>
    </dgm:pt>
    <dgm:pt modelId="{AEE2C7FE-3450-4C44-B8B2-8E47A5B67430}" type="parTrans" cxnId="{EFE64D5B-3552-444B-9DDD-9B4F9791E739}">
      <dgm:prSet/>
      <dgm:spPr/>
      <dgm:t>
        <a:bodyPr/>
        <a:lstStyle/>
        <a:p>
          <a:endParaRPr lang="nb-NO"/>
        </a:p>
      </dgm:t>
    </dgm:pt>
    <dgm:pt modelId="{63D23DA6-8CA9-4E9F-B4DF-183753A972F8}" type="sibTrans" cxnId="{EFE64D5B-3552-444B-9DDD-9B4F9791E739}">
      <dgm:prSet/>
      <dgm:spPr/>
      <dgm:t>
        <a:bodyPr/>
        <a:lstStyle/>
        <a:p>
          <a:endParaRPr lang="nb-NO"/>
        </a:p>
      </dgm:t>
    </dgm:pt>
    <dgm:pt modelId="{F338EAAE-DF8A-4CEC-93EC-57E54C9F488B}">
      <dgm:prSet phldrT="[Text]" custT="1"/>
      <dgm:spPr/>
      <dgm:t>
        <a:bodyPr/>
        <a:lstStyle/>
        <a:p>
          <a:r>
            <a:rPr lang="nb-NO" sz="800" dirty="0"/>
            <a:t>Virksomhetsmål og samhandling i offentlige virksomheter</a:t>
          </a:r>
        </a:p>
      </dgm:t>
    </dgm:pt>
    <dgm:pt modelId="{5E03C77E-773E-451F-B1CE-1A7C7DD0EE64}" type="sibTrans" cxnId="{0B1AFF2E-366C-4686-9EC2-CCAEF56736C3}">
      <dgm:prSet/>
      <dgm:spPr/>
      <dgm:t>
        <a:bodyPr/>
        <a:lstStyle/>
        <a:p>
          <a:endParaRPr lang="nb-NO"/>
        </a:p>
      </dgm:t>
    </dgm:pt>
    <dgm:pt modelId="{BEF9EE34-CF93-4A2D-ACB9-CAF86BE8567E}" type="parTrans" cxnId="{0B1AFF2E-366C-4686-9EC2-CCAEF56736C3}">
      <dgm:prSet/>
      <dgm:spPr/>
      <dgm:t>
        <a:bodyPr/>
        <a:lstStyle/>
        <a:p>
          <a:endParaRPr lang="nb-NO"/>
        </a:p>
      </dgm:t>
    </dgm:pt>
    <dgm:pt modelId="{B4462005-DEAB-4F53-A408-B170EA674D52}">
      <dgm:prSet phldrT="[Text]" custT="1"/>
      <dgm:spPr/>
      <dgm:t>
        <a:bodyPr/>
        <a:lstStyle/>
        <a:p>
          <a:r>
            <a:rPr lang="nb-NO" sz="800" dirty="0"/>
            <a:t>Tilgjengelighet for innsyn</a:t>
          </a:r>
        </a:p>
      </dgm:t>
    </dgm:pt>
    <dgm:pt modelId="{DE78C8DF-DE1D-48DC-BE34-9CC54FA67363}" type="sibTrans" cxnId="{1E30DCAE-14A2-4868-83B7-5470AA4DCC6E}">
      <dgm:prSet/>
      <dgm:spPr/>
      <dgm:t>
        <a:bodyPr/>
        <a:lstStyle/>
        <a:p>
          <a:endParaRPr lang="nb-NO"/>
        </a:p>
      </dgm:t>
    </dgm:pt>
    <dgm:pt modelId="{43B93AAB-4A0A-4A63-AF79-8987E4C02DD5}" type="parTrans" cxnId="{1E30DCAE-14A2-4868-83B7-5470AA4DCC6E}">
      <dgm:prSet/>
      <dgm:spPr/>
      <dgm:t>
        <a:bodyPr/>
        <a:lstStyle/>
        <a:p>
          <a:endParaRPr lang="nb-NO"/>
        </a:p>
      </dgm:t>
    </dgm:pt>
    <dgm:pt modelId="{E4EA44E4-8CF0-4B3B-AC4C-F037C6ED06B7}">
      <dgm:prSet phldrT="[Text]" custT="1"/>
      <dgm:spPr/>
      <dgm:t>
        <a:bodyPr/>
        <a:lstStyle/>
        <a:p>
          <a:r>
            <a:rPr lang="nb-NO" sz="800"/>
            <a:t>Kassasjon av irrelevant  materiale</a:t>
          </a:r>
        </a:p>
      </dgm:t>
    </dgm:pt>
    <dgm:pt modelId="{4A8F67F9-5274-4577-AA03-E83309E4CF00}" type="parTrans" cxnId="{7E4BBD61-C7B6-44DB-BB56-A849F41887DA}">
      <dgm:prSet/>
      <dgm:spPr/>
      <dgm:t>
        <a:bodyPr/>
        <a:lstStyle/>
        <a:p>
          <a:endParaRPr lang="nb-NO"/>
        </a:p>
      </dgm:t>
    </dgm:pt>
    <dgm:pt modelId="{E5BCEEAD-7EE6-487D-ADC0-30EE598D0D2F}" type="sibTrans" cxnId="{7E4BBD61-C7B6-44DB-BB56-A849F41887DA}">
      <dgm:prSet/>
      <dgm:spPr/>
      <dgm:t>
        <a:bodyPr/>
        <a:lstStyle/>
        <a:p>
          <a:endParaRPr lang="nb-NO"/>
        </a:p>
      </dgm:t>
    </dgm:pt>
    <dgm:pt modelId="{012D1097-9BEA-4BAA-AD8F-5A1EBD50F5A2}">
      <dgm:prSet phldrT="[Text]" custT="1"/>
      <dgm:spPr/>
      <dgm:t>
        <a:bodyPr/>
        <a:lstStyle/>
        <a:p>
          <a:r>
            <a:rPr lang="nb-NO" sz="800"/>
            <a:t>Innovasjon og utvikling av nye løsninger</a:t>
          </a:r>
        </a:p>
      </dgm:t>
    </dgm:pt>
    <dgm:pt modelId="{32396A80-D5DD-48A8-AEE9-F272069EABBB}" type="parTrans" cxnId="{EA9530F0-947B-490C-B930-63B393B16C04}">
      <dgm:prSet/>
      <dgm:spPr/>
      <dgm:t>
        <a:bodyPr/>
        <a:lstStyle/>
        <a:p>
          <a:endParaRPr lang="en-GB"/>
        </a:p>
      </dgm:t>
    </dgm:pt>
    <dgm:pt modelId="{DCC71116-D11F-4293-96F0-84A7C962EE7C}" type="sibTrans" cxnId="{EA9530F0-947B-490C-B930-63B393B16C04}">
      <dgm:prSet/>
      <dgm:spPr/>
      <dgm:t>
        <a:bodyPr/>
        <a:lstStyle/>
        <a:p>
          <a:endParaRPr lang="en-GB"/>
        </a:p>
      </dgm:t>
    </dgm:pt>
    <dgm:pt modelId="{ADE43E12-49C8-4C16-A31A-CB3ED9EF9E88}">
      <dgm:prSet phldrT="[Text]" custT="1"/>
      <dgm:spPr/>
      <dgm:t>
        <a:bodyPr/>
        <a:lstStyle/>
        <a:p>
          <a:r>
            <a:rPr lang="nb-NO" sz="800" dirty="0"/>
            <a:t>Fangst av relevant dokumentasjon og form på arkivmaterialet</a:t>
          </a:r>
        </a:p>
      </dgm:t>
    </dgm:pt>
    <dgm:pt modelId="{4A0D61A5-7EF0-40B1-9910-F9C11A6DD4ED}" type="parTrans" cxnId="{85EBC042-F15B-4CD2-9009-661F2380018B}">
      <dgm:prSet/>
      <dgm:spPr/>
      <dgm:t>
        <a:bodyPr/>
        <a:lstStyle/>
        <a:p>
          <a:endParaRPr lang="en-GB"/>
        </a:p>
      </dgm:t>
    </dgm:pt>
    <dgm:pt modelId="{06D59748-0899-4F2E-A184-02FE35E76192}" type="sibTrans" cxnId="{85EBC042-F15B-4CD2-9009-661F2380018B}">
      <dgm:prSet/>
      <dgm:spPr/>
      <dgm:t>
        <a:bodyPr/>
        <a:lstStyle/>
        <a:p>
          <a:endParaRPr lang="en-GB"/>
        </a:p>
      </dgm:t>
    </dgm:pt>
    <dgm:pt modelId="{BA675E2E-FCD4-4034-AFAB-2A55F346F009}">
      <dgm:prSet phldrT="[Text]" custT="1"/>
      <dgm:spPr/>
      <dgm:t>
        <a:bodyPr/>
        <a:lstStyle/>
        <a:p>
          <a:r>
            <a:rPr lang="nb-NO" sz="800" dirty="0"/>
            <a:t>Rettsikkerhet og personvern</a:t>
          </a:r>
        </a:p>
      </dgm:t>
    </dgm:pt>
    <dgm:pt modelId="{F883AF82-AB1C-413E-AD7D-2C77871C5BE5}" type="parTrans" cxnId="{8E31959C-04A4-4294-8227-64C189543263}">
      <dgm:prSet/>
      <dgm:spPr/>
      <dgm:t>
        <a:bodyPr/>
        <a:lstStyle/>
        <a:p>
          <a:endParaRPr lang="en-GB"/>
        </a:p>
      </dgm:t>
    </dgm:pt>
    <dgm:pt modelId="{E5BA7DC6-54A9-4F97-845C-03D26040C5A2}" type="sibTrans" cxnId="{8E31959C-04A4-4294-8227-64C189543263}">
      <dgm:prSet/>
      <dgm:spPr/>
      <dgm:t>
        <a:bodyPr/>
        <a:lstStyle/>
        <a:p>
          <a:endParaRPr lang="en-GB"/>
        </a:p>
      </dgm:t>
    </dgm:pt>
    <dgm:pt modelId="{16156031-73D6-486A-B0CB-070D78F898AF}" type="pres">
      <dgm:prSet presAssocID="{40AAFB2C-2B90-4611-820A-D639C583DF2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nb-NO"/>
        </a:p>
      </dgm:t>
    </dgm:pt>
    <dgm:pt modelId="{AFA90277-8C75-49FB-B4B3-EC50C19E3937}" type="pres">
      <dgm:prSet presAssocID="{40AAFB2C-2B90-4611-820A-D639C583DF2B}" presName="tSp" presStyleCnt="0"/>
      <dgm:spPr/>
    </dgm:pt>
    <dgm:pt modelId="{B4FB110D-9CAA-439C-A942-CF483B3E1B43}" type="pres">
      <dgm:prSet presAssocID="{40AAFB2C-2B90-4611-820A-D639C583DF2B}" presName="bSp" presStyleCnt="0"/>
      <dgm:spPr/>
    </dgm:pt>
    <dgm:pt modelId="{58FCE2C2-06F6-431E-91EB-86819D90D061}" type="pres">
      <dgm:prSet presAssocID="{40AAFB2C-2B90-4611-820A-D639C583DF2B}" presName="process" presStyleCnt="0"/>
      <dgm:spPr/>
    </dgm:pt>
    <dgm:pt modelId="{C73317D0-AAF1-4009-81A9-D3CFC54D031A}" type="pres">
      <dgm:prSet presAssocID="{A85A990D-5074-47FA-9BF5-94128E0DE40D}" presName="composite1" presStyleCnt="0"/>
      <dgm:spPr/>
    </dgm:pt>
    <dgm:pt modelId="{0F828D88-BCC3-4966-9F0E-E205E939CAB7}" type="pres">
      <dgm:prSet presAssocID="{A85A990D-5074-47FA-9BF5-94128E0DE40D}" presName="dummyNode1" presStyleLbl="node1" presStyleIdx="0" presStyleCnt="3"/>
      <dgm:spPr/>
    </dgm:pt>
    <dgm:pt modelId="{3DEE8E1E-A7CC-46A5-A78A-D5AC8D166C11}" type="pres">
      <dgm:prSet presAssocID="{A85A990D-5074-47FA-9BF5-94128E0DE40D}" presName="childNode1" presStyleLbl="bgAcc1" presStyleIdx="0" presStyleCnt="3" custScaleX="106880" custScaleY="106640" custLinFactNeighborX="-20706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1513A4B3-C146-4FA4-ABE9-A67DA16F4DC3}" type="pres">
      <dgm:prSet presAssocID="{A85A990D-5074-47FA-9BF5-94128E0DE40D}" presName="childNode1tx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6BEC8774-1571-4460-A5F3-15B3F7389007}" type="pres">
      <dgm:prSet presAssocID="{A85A990D-5074-47FA-9BF5-94128E0DE40D}" presName="parentNode1" presStyleLbl="node1" presStyleIdx="0" presStyleCnt="3" custLinFactNeighborX="-23300">
        <dgm:presLayoutVars>
          <dgm:chMax val="1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4E99602-4910-4183-822A-C7627B072EC5}" type="pres">
      <dgm:prSet presAssocID="{A85A990D-5074-47FA-9BF5-94128E0DE40D}" presName="connSite1" presStyleCnt="0"/>
      <dgm:spPr/>
    </dgm:pt>
    <dgm:pt modelId="{58701FA8-BD95-4B4C-993C-BEFFE7C04148}" type="pres">
      <dgm:prSet presAssocID="{52E60020-FF4B-4A43-B9FE-EAEF409A2F7E}" presName="Name9" presStyleLbl="sibTrans2D1" presStyleIdx="0" presStyleCnt="2" custLinFactNeighborY="-6830"/>
      <dgm:spPr/>
      <dgm:t>
        <a:bodyPr/>
        <a:lstStyle/>
        <a:p>
          <a:endParaRPr lang="nb-NO"/>
        </a:p>
      </dgm:t>
    </dgm:pt>
    <dgm:pt modelId="{7B1D15C7-0741-4AF9-A0DC-AD7BE87EC472}" type="pres">
      <dgm:prSet presAssocID="{482FE10F-0C43-4F1D-9F2F-629542D17AAC}" presName="composite2" presStyleCnt="0"/>
      <dgm:spPr/>
    </dgm:pt>
    <dgm:pt modelId="{7945B89E-B25A-4529-B6AC-1E34E49516F6}" type="pres">
      <dgm:prSet presAssocID="{482FE10F-0C43-4F1D-9F2F-629542D17AAC}" presName="dummyNode2" presStyleLbl="node1" presStyleIdx="0" presStyleCnt="3"/>
      <dgm:spPr/>
    </dgm:pt>
    <dgm:pt modelId="{7D6D9C86-96AC-4638-9854-CEDEECCE791A}" type="pres">
      <dgm:prSet presAssocID="{482FE10F-0C43-4F1D-9F2F-629542D17AAC}" presName="childNode2" presStyleLbl="bgAcc1" presStyleIdx="1" presStyleCnt="3" custScaleX="173286" custScaleY="112159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A51BD211-CEC3-4F41-A860-60C9C3CCF799}" type="pres">
      <dgm:prSet presAssocID="{482FE10F-0C43-4F1D-9F2F-629542D17AAC}" presName="childNode2tx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5F95B9AF-F63C-43F0-99D0-9D6E9F2B257D}" type="pres">
      <dgm:prSet presAssocID="{482FE10F-0C43-4F1D-9F2F-629542D17AAC}" presName="parentNode2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E22A2CE0-7AA1-446E-AF2B-993515B7E838}" type="pres">
      <dgm:prSet presAssocID="{482FE10F-0C43-4F1D-9F2F-629542D17AAC}" presName="connSite2" presStyleCnt="0"/>
      <dgm:spPr/>
    </dgm:pt>
    <dgm:pt modelId="{57AAD843-A034-440B-9133-D20F46F25A1F}" type="pres">
      <dgm:prSet presAssocID="{420382B7-9E1C-4632-9ED2-2227ABCE6798}" presName="Name18" presStyleLbl="sibTrans2D1" presStyleIdx="1" presStyleCnt="2" custScaleX="95601" custLinFactNeighborX="6996" custLinFactNeighborY="5883"/>
      <dgm:spPr/>
      <dgm:t>
        <a:bodyPr/>
        <a:lstStyle/>
        <a:p>
          <a:endParaRPr lang="nb-NO"/>
        </a:p>
      </dgm:t>
    </dgm:pt>
    <dgm:pt modelId="{7CE96D68-136F-4DFE-97B4-5C28FA0C03DE}" type="pres">
      <dgm:prSet presAssocID="{E61A21A5-6E4C-4D00-B25A-06E22BF2DFA2}" presName="composite1" presStyleCnt="0"/>
      <dgm:spPr/>
    </dgm:pt>
    <dgm:pt modelId="{CFB5845A-57C4-4942-A291-837F8F05F02A}" type="pres">
      <dgm:prSet presAssocID="{E61A21A5-6E4C-4D00-B25A-06E22BF2DFA2}" presName="dummyNode1" presStyleLbl="node1" presStyleIdx="1" presStyleCnt="3"/>
      <dgm:spPr/>
    </dgm:pt>
    <dgm:pt modelId="{BF5F0A0E-022E-407D-8FC5-55042D7A0970}" type="pres">
      <dgm:prSet presAssocID="{E61A21A5-6E4C-4D00-B25A-06E22BF2DFA2}" presName="childNode1" presStyleLbl="bgAcc1" presStyleIdx="2" presStyleCnt="3" custScaleX="106880" custScaleY="104231" custLinFactNeighborX="69987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979D16C9-50AF-4126-A904-2CE00DF220D4}" type="pres">
      <dgm:prSet presAssocID="{E61A21A5-6E4C-4D00-B25A-06E22BF2DFA2}" presName="childNode1tx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099E9A13-38CD-4CE3-8B30-E94030ECF367}" type="pres">
      <dgm:prSet presAssocID="{E61A21A5-6E4C-4D00-B25A-06E22BF2DFA2}" presName="parentNode1" presStyleLbl="node1" presStyleIdx="2" presStyleCnt="3" custLinFactNeighborX="-2970" custLinFactNeighborY="13760">
        <dgm:presLayoutVars>
          <dgm:chMax val="1"/>
          <dgm:bulletEnabled val="1"/>
        </dgm:presLayoutVars>
      </dgm:prSet>
      <dgm:spPr/>
      <dgm:t>
        <a:bodyPr/>
        <a:lstStyle/>
        <a:p>
          <a:endParaRPr lang="nb-NO"/>
        </a:p>
      </dgm:t>
    </dgm:pt>
    <dgm:pt modelId="{4A89787D-98A5-4DCD-9EC6-29B9E70B12E0}" type="pres">
      <dgm:prSet presAssocID="{E61A21A5-6E4C-4D00-B25A-06E22BF2DFA2}" presName="connSite1" presStyleCnt="0"/>
      <dgm:spPr/>
    </dgm:pt>
  </dgm:ptLst>
  <dgm:cxnLst>
    <dgm:cxn modelId="{96E3A4FE-F86A-4E84-AE19-8CA002D652A6}" srcId="{E61A21A5-6E4C-4D00-B25A-06E22BF2DFA2}" destId="{F4A39C09-8EA6-4EF2-9D3E-44E8660684EC}" srcOrd="2" destOrd="0" parTransId="{865F89BC-ADFC-413C-B680-3489B86D4F31}" sibTransId="{8554DE79-7134-441A-9FC5-7CCB5B90BECF}"/>
    <dgm:cxn modelId="{D953923C-5F5F-4E2D-B4DD-BA6597E39FE0}" srcId="{40AAFB2C-2B90-4611-820A-D639C583DF2B}" destId="{482FE10F-0C43-4F1D-9F2F-629542D17AAC}" srcOrd="1" destOrd="0" parTransId="{5419510C-92CD-4F13-928B-B57193758F69}" sibTransId="{420382B7-9E1C-4632-9ED2-2227ABCE6798}"/>
    <dgm:cxn modelId="{B24714B6-CD80-4BDD-B2E5-B43A71D8AA07}" type="presOf" srcId="{F338EAAE-DF8A-4CEC-93EC-57E54C9F488B}" destId="{7D6D9C86-96AC-4638-9854-CEDEECCE791A}" srcOrd="0" destOrd="1" presId="urn:microsoft.com/office/officeart/2005/8/layout/hProcess4"/>
    <dgm:cxn modelId="{0A71D31C-8FBD-4088-A2D3-D2A325FC423A}" type="presOf" srcId="{E4EA44E4-8CF0-4B3B-AC4C-F037C6ED06B7}" destId="{BF5F0A0E-022E-407D-8FC5-55042D7A0970}" srcOrd="0" destOrd="1" presId="urn:microsoft.com/office/officeart/2005/8/layout/hProcess4"/>
    <dgm:cxn modelId="{0B1AFF2E-366C-4686-9EC2-CCAEF56736C3}" srcId="{482FE10F-0C43-4F1D-9F2F-629542D17AAC}" destId="{F338EAAE-DF8A-4CEC-93EC-57E54C9F488B}" srcOrd="1" destOrd="0" parTransId="{BEF9EE34-CF93-4A2D-ACB9-CAF86BE8567E}" sibTransId="{5E03C77E-773E-451F-B1CE-1A7C7DD0EE64}"/>
    <dgm:cxn modelId="{4B3264E6-042D-433B-BFE3-79B0E1E3535F}" srcId="{40AAFB2C-2B90-4611-820A-D639C583DF2B}" destId="{E61A21A5-6E4C-4D00-B25A-06E22BF2DFA2}" srcOrd="2" destOrd="0" parTransId="{55522C7A-540C-4574-8403-2AE2C4EC9944}" sibTransId="{8E896501-BCA7-4858-8508-A5C3BCACF3FF}"/>
    <dgm:cxn modelId="{84259909-ED6F-4834-81B3-F3C24388B811}" type="presOf" srcId="{420382B7-9E1C-4632-9ED2-2227ABCE6798}" destId="{57AAD843-A034-440B-9133-D20F46F25A1F}" srcOrd="0" destOrd="0" presId="urn:microsoft.com/office/officeart/2005/8/layout/hProcess4"/>
    <dgm:cxn modelId="{64E4CFF8-3893-4240-80C5-1E9CD6566230}" type="presOf" srcId="{E61A21A5-6E4C-4D00-B25A-06E22BF2DFA2}" destId="{099E9A13-38CD-4CE3-8B30-E94030ECF367}" srcOrd="0" destOrd="0" presId="urn:microsoft.com/office/officeart/2005/8/layout/hProcess4"/>
    <dgm:cxn modelId="{F42D9D85-17DC-4682-9EF4-16030D90C686}" type="presOf" srcId="{B4462005-DEAB-4F53-A408-B170EA674D52}" destId="{7D6D9C86-96AC-4638-9854-CEDEECCE791A}" srcOrd="0" destOrd="2" presId="urn:microsoft.com/office/officeart/2005/8/layout/hProcess4"/>
    <dgm:cxn modelId="{FBC5BD1C-A885-4E4E-B77A-D73BD1840122}" type="presOf" srcId="{B4462005-DEAB-4F53-A408-B170EA674D52}" destId="{A51BD211-CEC3-4F41-A860-60C9C3CCF799}" srcOrd="1" destOrd="2" presId="urn:microsoft.com/office/officeart/2005/8/layout/hProcess4"/>
    <dgm:cxn modelId="{1E30DCAE-14A2-4868-83B7-5470AA4DCC6E}" srcId="{482FE10F-0C43-4F1D-9F2F-629542D17AAC}" destId="{B4462005-DEAB-4F53-A408-B170EA674D52}" srcOrd="2" destOrd="0" parTransId="{43B93AAB-4A0A-4A63-AF79-8987E4C02DD5}" sibTransId="{DE78C8DF-DE1D-48DC-BE34-9CC54FA67363}"/>
    <dgm:cxn modelId="{F8EF3ED6-254F-44DA-88AC-B4BEA8552432}" type="presOf" srcId="{B51F6DCA-4688-4014-B138-685E861DCF36}" destId="{979D16C9-50AF-4126-A904-2CE00DF220D4}" srcOrd="1" destOrd="3" presId="urn:microsoft.com/office/officeart/2005/8/layout/hProcess4"/>
    <dgm:cxn modelId="{F9BA1792-AEF4-44EA-B741-73148F2E29B0}" type="presOf" srcId="{40AAFB2C-2B90-4611-820A-D639C583DF2B}" destId="{16156031-73D6-486A-B0CB-070D78F898AF}" srcOrd="0" destOrd="0" presId="urn:microsoft.com/office/officeart/2005/8/layout/hProcess4"/>
    <dgm:cxn modelId="{63926B6A-591B-48DB-B769-5D4685447479}" type="presOf" srcId="{F338EAAE-DF8A-4CEC-93EC-57E54C9F488B}" destId="{A51BD211-CEC3-4F41-A860-60C9C3CCF799}" srcOrd="1" destOrd="1" presId="urn:microsoft.com/office/officeart/2005/8/layout/hProcess4"/>
    <dgm:cxn modelId="{429963D7-5CED-4907-AF27-E02C9CF9E918}" type="presOf" srcId="{ADE43E12-49C8-4C16-A31A-CB3ED9EF9E88}" destId="{7D6D9C86-96AC-4638-9854-CEDEECCE791A}" srcOrd="0" destOrd="0" presId="urn:microsoft.com/office/officeart/2005/8/layout/hProcess4"/>
    <dgm:cxn modelId="{79F08D4C-0686-42B7-8E52-C7EAB7AEA195}" type="presOf" srcId="{BA675E2E-FCD4-4034-AFAB-2A55F346F009}" destId="{7D6D9C86-96AC-4638-9854-CEDEECCE791A}" srcOrd="0" destOrd="3" presId="urn:microsoft.com/office/officeart/2005/8/layout/hProcess4"/>
    <dgm:cxn modelId="{4070301B-826A-450C-92E7-A647E0A07D37}" type="presOf" srcId="{012D1097-9BEA-4BAA-AD8F-5A1EBD50F5A2}" destId="{3DEE8E1E-A7CC-46A5-A78A-D5AC8D166C11}" srcOrd="0" destOrd="1" presId="urn:microsoft.com/office/officeart/2005/8/layout/hProcess4"/>
    <dgm:cxn modelId="{533672EF-3462-4EA9-91B2-B9B952F39A25}" type="presOf" srcId="{8F88BFF8-F29A-46B4-861A-07E89D71805B}" destId="{979D16C9-50AF-4126-A904-2CE00DF220D4}" srcOrd="1" destOrd="0" presId="urn:microsoft.com/office/officeart/2005/8/layout/hProcess4"/>
    <dgm:cxn modelId="{0A27AB09-584C-4DA7-B451-5167B5E45EBF}" srcId="{E61A21A5-6E4C-4D00-B25A-06E22BF2DFA2}" destId="{8F88BFF8-F29A-46B4-861A-07E89D71805B}" srcOrd="0" destOrd="0" parTransId="{104EBCA2-437B-4FF8-B357-B4E9171DE0B1}" sibTransId="{51308B4A-4C6A-4A05-BB1F-1CBB865FB727}"/>
    <dgm:cxn modelId="{8E31959C-04A4-4294-8227-64C189543263}" srcId="{482FE10F-0C43-4F1D-9F2F-629542D17AAC}" destId="{BA675E2E-FCD4-4034-AFAB-2A55F346F009}" srcOrd="3" destOrd="0" parTransId="{F883AF82-AB1C-413E-AD7D-2C77871C5BE5}" sibTransId="{E5BA7DC6-54A9-4F97-845C-03D26040C5A2}"/>
    <dgm:cxn modelId="{AC624479-2E65-4B68-A8F7-3776B0C14948}" type="presOf" srcId="{79C1AB9E-5F9A-4E40-AD94-AAE4A10EDAED}" destId="{3DEE8E1E-A7CC-46A5-A78A-D5AC8D166C11}" srcOrd="0" destOrd="0" presId="urn:microsoft.com/office/officeart/2005/8/layout/hProcess4"/>
    <dgm:cxn modelId="{BC12BFB5-5855-4918-B7D1-2401DC85AD2A}" srcId="{E61A21A5-6E4C-4D00-B25A-06E22BF2DFA2}" destId="{B51F6DCA-4688-4014-B138-685E861DCF36}" srcOrd="3" destOrd="0" parTransId="{33B6220A-EE85-43B1-A940-140393862CC1}" sibTransId="{731DD2E9-4806-436A-BD34-3C35CA289E1C}"/>
    <dgm:cxn modelId="{9838F2B0-06DF-4A36-AF9B-8FFBDBD81608}" type="presOf" srcId="{52E60020-FF4B-4A43-B9FE-EAEF409A2F7E}" destId="{58701FA8-BD95-4B4C-993C-BEFFE7C04148}" srcOrd="0" destOrd="0" presId="urn:microsoft.com/office/officeart/2005/8/layout/hProcess4"/>
    <dgm:cxn modelId="{E8084899-F320-40B9-939C-9E67E341542D}" type="presOf" srcId="{A85A990D-5074-47FA-9BF5-94128E0DE40D}" destId="{6BEC8774-1571-4460-A5F3-15B3F7389007}" srcOrd="0" destOrd="0" presId="urn:microsoft.com/office/officeart/2005/8/layout/hProcess4"/>
    <dgm:cxn modelId="{34C939E0-54FE-43B2-B5C7-FF80E456BF5F}" type="presOf" srcId="{8F88BFF8-F29A-46B4-861A-07E89D71805B}" destId="{BF5F0A0E-022E-407D-8FC5-55042D7A0970}" srcOrd="0" destOrd="0" presId="urn:microsoft.com/office/officeart/2005/8/layout/hProcess4"/>
    <dgm:cxn modelId="{BBB0EC70-F994-49DF-AC65-D028EB49C99D}" type="presOf" srcId="{F4A39C09-8EA6-4EF2-9D3E-44E8660684EC}" destId="{BF5F0A0E-022E-407D-8FC5-55042D7A0970}" srcOrd="0" destOrd="2" presId="urn:microsoft.com/office/officeart/2005/8/layout/hProcess4"/>
    <dgm:cxn modelId="{413BADED-133E-4F42-9767-0C1F417CEB32}" type="presOf" srcId="{482FE10F-0C43-4F1D-9F2F-629542D17AAC}" destId="{5F95B9AF-F63C-43F0-99D0-9D6E9F2B257D}" srcOrd="0" destOrd="0" presId="urn:microsoft.com/office/officeart/2005/8/layout/hProcess4"/>
    <dgm:cxn modelId="{2B0AE996-CA1B-49E9-8CE7-4AD66B9C38DD}" type="presOf" srcId="{BA675E2E-FCD4-4034-AFAB-2A55F346F009}" destId="{A51BD211-CEC3-4F41-A860-60C9C3CCF799}" srcOrd="1" destOrd="3" presId="urn:microsoft.com/office/officeart/2005/8/layout/hProcess4"/>
    <dgm:cxn modelId="{85EBC042-F15B-4CD2-9009-661F2380018B}" srcId="{482FE10F-0C43-4F1D-9F2F-629542D17AAC}" destId="{ADE43E12-49C8-4C16-A31A-CB3ED9EF9E88}" srcOrd="0" destOrd="0" parTransId="{4A0D61A5-7EF0-40B1-9910-F9C11A6DD4ED}" sibTransId="{06D59748-0899-4F2E-A184-02FE35E76192}"/>
    <dgm:cxn modelId="{22A5A8A4-5AD8-4B70-8099-0112D00E8DAA}" type="presOf" srcId="{E4EA44E4-8CF0-4B3B-AC4C-F037C6ED06B7}" destId="{979D16C9-50AF-4126-A904-2CE00DF220D4}" srcOrd="1" destOrd="1" presId="urn:microsoft.com/office/officeart/2005/8/layout/hProcess4"/>
    <dgm:cxn modelId="{943FE71A-B68B-4C95-A447-423067752A86}" type="presOf" srcId="{F4A39C09-8EA6-4EF2-9D3E-44E8660684EC}" destId="{979D16C9-50AF-4126-A904-2CE00DF220D4}" srcOrd="1" destOrd="2" presId="urn:microsoft.com/office/officeart/2005/8/layout/hProcess4"/>
    <dgm:cxn modelId="{EC9823AE-5291-4961-BED9-13FEC72555F2}" type="presOf" srcId="{79C1AB9E-5F9A-4E40-AD94-AAE4A10EDAED}" destId="{1513A4B3-C146-4FA4-ABE9-A67DA16F4DC3}" srcOrd="1" destOrd="0" presId="urn:microsoft.com/office/officeart/2005/8/layout/hProcess4"/>
    <dgm:cxn modelId="{EFE64D5B-3552-444B-9DDD-9B4F9791E739}" srcId="{A85A990D-5074-47FA-9BF5-94128E0DE40D}" destId="{79C1AB9E-5F9A-4E40-AD94-AAE4A10EDAED}" srcOrd="0" destOrd="0" parTransId="{AEE2C7FE-3450-4C44-B8B2-8E47A5B67430}" sibTransId="{63D23DA6-8CA9-4E9F-B4DF-183753A972F8}"/>
    <dgm:cxn modelId="{EA9530F0-947B-490C-B930-63B393B16C04}" srcId="{A85A990D-5074-47FA-9BF5-94128E0DE40D}" destId="{012D1097-9BEA-4BAA-AD8F-5A1EBD50F5A2}" srcOrd="1" destOrd="0" parTransId="{32396A80-D5DD-48A8-AEE9-F272069EABBB}" sibTransId="{DCC71116-D11F-4293-96F0-84A7C962EE7C}"/>
    <dgm:cxn modelId="{0C2A9DA0-6656-41FD-881A-8BBDD197F05B}" type="presOf" srcId="{B51F6DCA-4688-4014-B138-685E861DCF36}" destId="{BF5F0A0E-022E-407D-8FC5-55042D7A0970}" srcOrd="0" destOrd="3" presId="urn:microsoft.com/office/officeart/2005/8/layout/hProcess4"/>
    <dgm:cxn modelId="{7E4BBD61-C7B6-44DB-BB56-A849F41887DA}" srcId="{E61A21A5-6E4C-4D00-B25A-06E22BF2DFA2}" destId="{E4EA44E4-8CF0-4B3B-AC4C-F037C6ED06B7}" srcOrd="1" destOrd="0" parTransId="{4A8F67F9-5274-4577-AA03-E83309E4CF00}" sibTransId="{E5BCEEAD-7EE6-487D-ADC0-30EE598D0D2F}"/>
    <dgm:cxn modelId="{8437CB83-9E4C-4B52-9D55-897EE475F99C}" type="presOf" srcId="{ADE43E12-49C8-4C16-A31A-CB3ED9EF9E88}" destId="{A51BD211-CEC3-4F41-A860-60C9C3CCF799}" srcOrd="1" destOrd="0" presId="urn:microsoft.com/office/officeart/2005/8/layout/hProcess4"/>
    <dgm:cxn modelId="{19DAFDDB-235C-41FC-8006-EE15D6240830}" type="presOf" srcId="{012D1097-9BEA-4BAA-AD8F-5A1EBD50F5A2}" destId="{1513A4B3-C146-4FA4-ABE9-A67DA16F4DC3}" srcOrd="1" destOrd="1" presId="urn:microsoft.com/office/officeart/2005/8/layout/hProcess4"/>
    <dgm:cxn modelId="{ED9B3FBE-4005-43D4-99D2-2B47B8D9DC55}" srcId="{40AAFB2C-2B90-4611-820A-D639C583DF2B}" destId="{A85A990D-5074-47FA-9BF5-94128E0DE40D}" srcOrd="0" destOrd="0" parTransId="{39673CA8-A69B-4A4C-9F5E-8CFD2CA09795}" sibTransId="{52E60020-FF4B-4A43-B9FE-EAEF409A2F7E}"/>
    <dgm:cxn modelId="{9336CA1E-EB21-4B42-B937-E9FAAE7C7F7F}" type="presParOf" srcId="{16156031-73D6-486A-B0CB-070D78F898AF}" destId="{AFA90277-8C75-49FB-B4B3-EC50C19E3937}" srcOrd="0" destOrd="0" presId="urn:microsoft.com/office/officeart/2005/8/layout/hProcess4"/>
    <dgm:cxn modelId="{C3BB564D-FD70-4271-AD34-E4E464581540}" type="presParOf" srcId="{16156031-73D6-486A-B0CB-070D78F898AF}" destId="{B4FB110D-9CAA-439C-A942-CF483B3E1B43}" srcOrd="1" destOrd="0" presId="urn:microsoft.com/office/officeart/2005/8/layout/hProcess4"/>
    <dgm:cxn modelId="{4C462A7F-5F57-40EE-88B0-E8005D7427C2}" type="presParOf" srcId="{16156031-73D6-486A-B0CB-070D78F898AF}" destId="{58FCE2C2-06F6-431E-91EB-86819D90D061}" srcOrd="2" destOrd="0" presId="urn:microsoft.com/office/officeart/2005/8/layout/hProcess4"/>
    <dgm:cxn modelId="{7F860F99-74D7-4395-83E7-501D3B809887}" type="presParOf" srcId="{58FCE2C2-06F6-431E-91EB-86819D90D061}" destId="{C73317D0-AAF1-4009-81A9-D3CFC54D031A}" srcOrd="0" destOrd="0" presId="urn:microsoft.com/office/officeart/2005/8/layout/hProcess4"/>
    <dgm:cxn modelId="{2153A33F-AA25-4AAC-A577-11879AE32279}" type="presParOf" srcId="{C73317D0-AAF1-4009-81A9-D3CFC54D031A}" destId="{0F828D88-BCC3-4966-9F0E-E205E939CAB7}" srcOrd="0" destOrd="0" presId="urn:microsoft.com/office/officeart/2005/8/layout/hProcess4"/>
    <dgm:cxn modelId="{16C7BC65-EDCE-4A25-9BB9-399CC655FAFF}" type="presParOf" srcId="{C73317D0-AAF1-4009-81A9-D3CFC54D031A}" destId="{3DEE8E1E-A7CC-46A5-A78A-D5AC8D166C11}" srcOrd="1" destOrd="0" presId="urn:microsoft.com/office/officeart/2005/8/layout/hProcess4"/>
    <dgm:cxn modelId="{92FE74F1-804E-4B5F-BC7F-BED21E9F8348}" type="presParOf" srcId="{C73317D0-AAF1-4009-81A9-D3CFC54D031A}" destId="{1513A4B3-C146-4FA4-ABE9-A67DA16F4DC3}" srcOrd="2" destOrd="0" presId="urn:microsoft.com/office/officeart/2005/8/layout/hProcess4"/>
    <dgm:cxn modelId="{50FB23B3-CE68-4F2C-9245-B13FE0D7B826}" type="presParOf" srcId="{C73317D0-AAF1-4009-81A9-D3CFC54D031A}" destId="{6BEC8774-1571-4460-A5F3-15B3F7389007}" srcOrd="3" destOrd="0" presId="urn:microsoft.com/office/officeart/2005/8/layout/hProcess4"/>
    <dgm:cxn modelId="{43877DB4-932A-48B8-BC09-8EED93627510}" type="presParOf" srcId="{C73317D0-AAF1-4009-81A9-D3CFC54D031A}" destId="{44E99602-4910-4183-822A-C7627B072EC5}" srcOrd="4" destOrd="0" presId="urn:microsoft.com/office/officeart/2005/8/layout/hProcess4"/>
    <dgm:cxn modelId="{1FAE0776-0EBA-43FB-8643-1A68A4456C23}" type="presParOf" srcId="{58FCE2C2-06F6-431E-91EB-86819D90D061}" destId="{58701FA8-BD95-4B4C-993C-BEFFE7C04148}" srcOrd="1" destOrd="0" presId="urn:microsoft.com/office/officeart/2005/8/layout/hProcess4"/>
    <dgm:cxn modelId="{A9FE1638-17F0-4C7F-BF9B-A5E29A4846F1}" type="presParOf" srcId="{58FCE2C2-06F6-431E-91EB-86819D90D061}" destId="{7B1D15C7-0741-4AF9-A0DC-AD7BE87EC472}" srcOrd="2" destOrd="0" presId="urn:microsoft.com/office/officeart/2005/8/layout/hProcess4"/>
    <dgm:cxn modelId="{64BFD30B-8993-4E9C-B73F-CE763023A454}" type="presParOf" srcId="{7B1D15C7-0741-4AF9-A0DC-AD7BE87EC472}" destId="{7945B89E-B25A-4529-B6AC-1E34E49516F6}" srcOrd="0" destOrd="0" presId="urn:microsoft.com/office/officeart/2005/8/layout/hProcess4"/>
    <dgm:cxn modelId="{68C33182-1497-4C25-859F-922E9C08171C}" type="presParOf" srcId="{7B1D15C7-0741-4AF9-A0DC-AD7BE87EC472}" destId="{7D6D9C86-96AC-4638-9854-CEDEECCE791A}" srcOrd="1" destOrd="0" presId="urn:microsoft.com/office/officeart/2005/8/layout/hProcess4"/>
    <dgm:cxn modelId="{3F6FEBC1-E62F-4728-8175-FB16F790D70C}" type="presParOf" srcId="{7B1D15C7-0741-4AF9-A0DC-AD7BE87EC472}" destId="{A51BD211-CEC3-4F41-A860-60C9C3CCF799}" srcOrd="2" destOrd="0" presId="urn:microsoft.com/office/officeart/2005/8/layout/hProcess4"/>
    <dgm:cxn modelId="{653C5D18-48B8-40B6-A23B-A43C24A98EB8}" type="presParOf" srcId="{7B1D15C7-0741-4AF9-A0DC-AD7BE87EC472}" destId="{5F95B9AF-F63C-43F0-99D0-9D6E9F2B257D}" srcOrd="3" destOrd="0" presId="urn:microsoft.com/office/officeart/2005/8/layout/hProcess4"/>
    <dgm:cxn modelId="{3A4F368B-4F0C-4B81-95B8-1756F5226C67}" type="presParOf" srcId="{7B1D15C7-0741-4AF9-A0DC-AD7BE87EC472}" destId="{E22A2CE0-7AA1-446E-AF2B-993515B7E838}" srcOrd="4" destOrd="0" presId="urn:microsoft.com/office/officeart/2005/8/layout/hProcess4"/>
    <dgm:cxn modelId="{67E96606-9894-417B-A7E6-A925D36695C2}" type="presParOf" srcId="{58FCE2C2-06F6-431E-91EB-86819D90D061}" destId="{57AAD843-A034-440B-9133-D20F46F25A1F}" srcOrd="3" destOrd="0" presId="urn:microsoft.com/office/officeart/2005/8/layout/hProcess4"/>
    <dgm:cxn modelId="{7193553F-FB61-4D5B-B69E-6A4A4B2A28B3}" type="presParOf" srcId="{58FCE2C2-06F6-431E-91EB-86819D90D061}" destId="{7CE96D68-136F-4DFE-97B4-5C28FA0C03DE}" srcOrd="4" destOrd="0" presId="urn:microsoft.com/office/officeart/2005/8/layout/hProcess4"/>
    <dgm:cxn modelId="{D30DC74E-8181-4566-91E7-83BA28742FCE}" type="presParOf" srcId="{7CE96D68-136F-4DFE-97B4-5C28FA0C03DE}" destId="{CFB5845A-57C4-4942-A291-837F8F05F02A}" srcOrd="0" destOrd="0" presId="urn:microsoft.com/office/officeart/2005/8/layout/hProcess4"/>
    <dgm:cxn modelId="{4B8FBCF6-DAD3-46E1-AF09-BEABEEE5FA7C}" type="presParOf" srcId="{7CE96D68-136F-4DFE-97B4-5C28FA0C03DE}" destId="{BF5F0A0E-022E-407D-8FC5-55042D7A0970}" srcOrd="1" destOrd="0" presId="urn:microsoft.com/office/officeart/2005/8/layout/hProcess4"/>
    <dgm:cxn modelId="{B8188714-71FC-4C70-BC81-A05D73055ED4}" type="presParOf" srcId="{7CE96D68-136F-4DFE-97B4-5C28FA0C03DE}" destId="{979D16C9-50AF-4126-A904-2CE00DF220D4}" srcOrd="2" destOrd="0" presId="urn:microsoft.com/office/officeart/2005/8/layout/hProcess4"/>
    <dgm:cxn modelId="{4157B794-887A-4345-A336-7973DFF7A511}" type="presParOf" srcId="{7CE96D68-136F-4DFE-97B4-5C28FA0C03DE}" destId="{099E9A13-38CD-4CE3-8B30-E94030ECF367}" srcOrd="3" destOrd="0" presId="urn:microsoft.com/office/officeart/2005/8/layout/hProcess4"/>
    <dgm:cxn modelId="{C80F0B2C-3DF5-404C-BA0D-D70A62919D0B}" type="presParOf" srcId="{7CE96D68-136F-4DFE-97B4-5C28FA0C03DE}" destId="{4A89787D-98A5-4DCD-9EC6-29B9E70B12E0}" srcOrd="4" destOrd="0" presId="urn:microsoft.com/office/officeart/2005/8/layout/hProcess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EE8E1E-A7CC-46A5-A78A-D5AC8D166C11}">
      <dsp:nvSpPr>
        <dsp:cNvPr id="0" name=""/>
        <dsp:cNvSpPr/>
      </dsp:nvSpPr>
      <dsp:spPr>
        <a:xfrm>
          <a:off x="0" y="984434"/>
          <a:ext cx="1332130" cy="109626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/>
            <a:t>Systemer tilgjengelige for offentlige innkjøpere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/>
            <a:t>Innovasjon og utvikling av nye løsninger</a:t>
          </a:r>
        </a:p>
      </dsp:txBody>
      <dsp:txXfrm>
        <a:off x="25228" y="1009662"/>
        <a:ext cx="1281674" cy="810892"/>
      </dsp:txXfrm>
    </dsp:sp>
    <dsp:sp modelId="{58701FA8-BD95-4B4C-993C-BEFFE7C04148}">
      <dsp:nvSpPr>
        <dsp:cNvPr id="0" name=""/>
        <dsp:cNvSpPr/>
      </dsp:nvSpPr>
      <dsp:spPr>
        <a:xfrm>
          <a:off x="440730" y="525774"/>
          <a:ext cx="2161288" cy="2161288"/>
        </a:xfrm>
        <a:prstGeom prst="leftCircularArrow">
          <a:avLst>
            <a:gd name="adj1" fmla="val 1792"/>
            <a:gd name="adj2" fmla="val 213716"/>
            <a:gd name="adj3" fmla="val 1989612"/>
            <a:gd name="adj4" fmla="val 9024875"/>
            <a:gd name="adj5" fmla="val 2091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EC8774-1571-4460-A5F3-15B3F7389007}">
      <dsp:nvSpPr>
        <dsp:cNvPr id="0" name=""/>
        <dsp:cNvSpPr/>
      </dsp:nvSpPr>
      <dsp:spPr>
        <a:xfrm>
          <a:off x="64171" y="1826280"/>
          <a:ext cx="1107892" cy="4405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Elektroniske systemer</a:t>
          </a:r>
        </a:p>
      </dsp:txBody>
      <dsp:txXfrm>
        <a:off x="77075" y="1839184"/>
        <a:ext cx="1082084" cy="414764"/>
      </dsp:txXfrm>
    </dsp:sp>
    <dsp:sp modelId="{7D6D9C86-96AC-4638-9854-CEDEECCE791A}">
      <dsp:nvSpPr>
        <dsp:cNvPr id="0" name=""/>
        <dsp:cNvSpPr/>
      </dsp:nvSpPr>
      <dsp:spPr>
        <a:xfrm>
          <a:off x="1614665" y="955376"/>
          <a:ext cx="2159800" cy="11529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 dirty="0"/>
            <a:t>Fangst av relevant dokumentasjon og form på arkivmateriale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 dirty="0"/>
            <a:t>Virksomhetsmål og samhandling i offentlige virksomheter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 dirty="0"/>
            <a:t>Tilgjengelighet for innsyn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 dirty="0"/>
            <a:t>Rettsikkerhet og personvern</a:t>
          </a:r>
        </a:p>
      </dsp:txBody>
      <dsp:txXfrm>
        <a:off x="1641199" y="1228981"/>
        <a:ext cx="2106732" cy="852858"/>
      </dsp:txXfrm>
    </dsp:sp>
    <dsp:sp modelId="{57AAD843-A034-440B-9133-D20F46F25A1F}">
      <dsp:nvSpPr>
        <dsp:cNvPr id="0" name=""/>
        <dsp:cNvSpPr/>
      </dsp:nvSpPr>
      <dsp:spPr>
        <a:xfrm>
          <a:off x="2919905" y="383336"/>
          <a:ext cx="1937373" cy="2026519"/>
        </a:xfrm>
        <a:prstGeom prst="circularArrow">
          <a:avLst>
            <a:gd name="adj1" fmla="val 1912"/>
            <a:gd name="adj2" fmla="val 228548"/>
            <a:gd name="adj3" fmla="val 19596534"/>
            <a:gd name="adj4" fmla="val 12576103"/>
            <a:gd name="adj5" fmla="val 223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F95B9AF-F63C-43F0-99D0-9D6E9F2B257D}">
      <dsp:nvSpPr>
        <dsp:cNvPr id="0" name=""/>
        <dsp:cNvSpPr/>
      </dsp:nvSpPr>
      <dsp:spPr>
        <a:xfrm>
          <a:off x="2348349" y="797587"/>
          <a:ext cx="1107892" cy="4405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Fangst, forvaltning, bruk</a:t>
          </a:r>
        </a:p>
      </dsp:txBody>
      <dsp:txXfrm>
        <a:off x="2361253" y="810491"/>
        <a:ext cx="1082084" cy="414764"/>
      </dsp:txXfrm>
    </dsp:sp>
    <dsp:sp modelId="{BF5F0A0E-022E-407D-8FC5-55042D7A0970}">
      <dsp:nvSpPr>
        <dsp:cNvPr id="0" name=""/>
        <dsp:cNvSpPr/>
      </dsp:nvSpPr>
      <dsp:spPr>
        <a:xfrm>
          <a:off x="4057000" y="996728"/>
          <a:ext cx="1332130" cy="1071496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825" tIns="123825" rIns="123825" bIns="123825" numCol="1" spcCol="1270" anchor="t" anchorCtr="0">
          <a:noAutofit/>
        </a:bodyPr>
        <a:lstStyle/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/>
            <a:t>Bevaring av relevant materiale 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/>
            <a:t>Kassasjon av irrelevant  materiale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nb-NO" sz="800" kern="1200"/>
            <a:t>Tilgjengelighet av materialet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nb-NO" sz="800" kern="1200"/>
        </a:p>
      </dsp:txBody>
      <dsp:txXfrm>
        <a:off x="4081658" y="1021386"/>
        <a:ext cx="1282814" cy="792574"/>
      </dsp:txXfrm>
    </dsp:sp>
    <dsp:sp modelId="{099E9A13-38CD-4CE3-8B30-E94030ECF367}">
      <dsp:nvSpPr>
        <dsp:cNvPr id="0" name=""/>
        <dsp:cNvSpPr/>
      </dsp:nvSpPr>
      <dsp:spPr>
        <a:xfrm>
          <a:off x="4245871" y="1886814"/>
          <a:ext cx="1107892" cy="440572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5240" rIns="2286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nb-NO" sz="1200" kern="1200"/>
            <a:t>Avlevering</a:t>
          </a:r>
          <a:endParaRPr lang="nb-NO" sz="2300" kern="1200"/>
        </a:p>
      </dsp:txBody>
      <dsp:txXfrm>
        <a:off x="4258775" y="1899718"/>
        <a:ext cx="1082084" cy="41476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4">
  <dgm:title val=""/>
  <dgm:desc val=""/>
  <dgm:catLst>
    <dgm:cat type="process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tSp" refType="w"/>
      <dgm:constr type="h" for="ch" forName="tSp" refType="h" fact="0.15"/>
      <dgm:constr type="l" for="ch" forName="tSp"/>
      <dgm:constr type="t" for="ch" forName="tSp"/>
      <dgm:constr type="w" for="ch" forName="bSp" refType="w"/>
      <dgm:constr type="h" for="ch" forName="bSp" refType="h" fact="0.15"/>
      <dgm:constr type="l" for="ch" forName="bSp"/>
      <dgm:constr type="t" for="ch" forName="bSp" refType="h" fact="0.85"/>
      <dgm:constr type="w" for="ch" forName="process" refType="w"/>
      <dgm:constr type="h" for="ch" forName="process" refType="h" fact="0.7"/>
      <dgm:constr type="l" for="ch" forName="process"/>
      <dgm:constr type="t" for="ch" forName="process" refType="h" fact="0.15"/>
    </dgm:constrLst>
    <dgm:ruleLst/>
    <dgm:layoutNode name="t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bSp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process">
      <dgm:choose name="Name1">
        <dgm:if name="Name2" func="var" arg="dir" op="equ" val="norm">
          <dgm:alg type="lin">
            <dgm:param type="linDir" val="fromL"/>
          </dgm:alg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1" refType="w"/>
        <dgm:constr type="w" for="ch" forName="composite2" refType="w" refFor="ch" refForName="composite1" op="equ"/>
        <dgm:constr type="h" for="ch" forName="composite1" refType="h"/>
        <dgm:constr type="h" for="ch" forName="composite2" refType="h" refFor="ch" refForName="composite1" op="equ"/>
        <dgm:constr type="primFontSz" for="des" forName="parentNode1" val="65"/>
        <dgm:constr type="primFontSz" for="des" forName="parentNode2" refType="primFontSz" refFor="des" refForName="parentNode1" op="equ"/>
        <dgm:constr type="secFontSz" for="des" forName="childNode1tx" val="65"/>
        <dgm:constr type="secFontSz" for="des" forName="childNode2tx" refType="secFontSz" refFor="des" refForName="childNode1tx" op="equ"/>
        <dgm:constr type="w" for="des" ptType="sibTrans" refType="w" refFor="ch" refForName="composite1" op="equ" fact="0.05"/>
      </dgm:constrLst>
      <dgm:ruleLst/>
      <dgm:forEach name="Name4" axis="ch" ptType="node" step="2">
        <dgm:layoutNode name="composite1">
          <dgm:alg type="composite">
            <dgm:param type="ar" val="0.943"/>
          </dgm:alg>
          <dgm:shape xmlns:r="http://schemas.openxmlformats.org/officeDocument/2006/relationships" r:blip="">
            <dgm:adjLst/>
          </dgm:shape>
          <dgm:presOf/>
          <dgm:choose name="Name5">
            <dgm:if name="Name6" func="var" arg="dir" op="equ" val="norm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 refType="w" fact="0.2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35"/>
              </dgm:constrLst>
            </dgm:if>
            <dgm:else name="Name7">
              <dgm:constrLst>
                <dgm:constr type="h" refType="w" fact="1.06"/>
                <dgm:constr type="w" for="ch" forName="dummyNode1" refType="w"/>
                <dgm:constr type="h" for="ch" forName="dummyNode1" refType="h"/>
                <dgm:constr type="t" for="ch" forName="dummyNode1"/>
                <dgm:constr type="l" for="ch" forName="dummyNode1"/>
                <dgm:constr type="w" for="ch" forName="childNode1" refType="w" fact="0.9"/>
                <dgm:constr type="h" for="ch" forName="childNode1" refType="h" fact="0.7"/>
                <dgm:constr type="t" for="ch" forName="childNode1" refType="h" fact="0.15"/>
                <dgm:constr type="l" for="ch" forName="childNode1" refType="w" fact="0.1"/>
                <dgm:constr type="w" for="ch" forName="childNode1tx" refType="w" fact="0.9"/>
                <dgm:constr type="h" for="ch" forName="childNode1tx" refType="h" fact="0.55"/>
                <dgm:constr type="t" for="ch" forName="childNode1tx" refType="h" fact="0.15"/>
                <dgm:constr type="l" for="ch" forName="childNode1tx" refType="w" fact="0.1"/>
                <dgm:constr type="w" for="ch" forName="parentNode1" refType="w" fact="0.8"/>
                <dgm:constr type="h" for="ch" forName="parentNode1" refType="h" fact="0.3"/>
                <dgm:constr type="t" for="ch" forName="parentNode1" refType="h" fact="0.7"/>
                <dgm:constr type="l" for="ch" forName="parentNode1"/>
                <dgm:constr type="w" for="ch" forName="connSite1" refType="w" fact="0.01"/>
                <dgm:constr type="h" for="ch" forName="connSite1" refType="h" fact="0.01"/>
                <dgm:constr type="t" for="ch" forName="connSite1"/>
                <dgm:constr type="l" for="ch" forName="connSite1" refType="w" fact="0.65"/>
              </dgm:constrLst>
            </dgm:else>
          </dgm:choose>
          <dgm:ruleLst/>
          <dgm:layoutNode name="dummyNode1">
            <dgm:alg type="sp"/>
            <dgm:shape xmlns:r="http://schemas.openxmlformats.org/officeDocument/2006/relationships" type="rect" r:blip="" hideGeom="1">
              <dgm:adjLst/>
            </dgm:shape>
            <dgm:presOf/>
            <dgm:constrLst/>
            <dgm:ruleLst/>
          </dgm:layoutNode>
          <dgm:layoutNode name="childNode1" styleLbl="bgAcc1">
            <dgm:varLst>
              <dgm:bulletEnabled val="1"/>
            </dgm:varLst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/>
            <dgm:ruleLst/>
          </dgm:layoutNode>
          <dgm:layoutNode name="childNode1tx" styleLbl="bgAcc1">
            <dgm:varLst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 axis="des" ptType="node"/>
            <dgm:constrLst>
              <dgm:constr type="secFontSz" val="65"/>
              <dgm:constr type="primFontSz" refType="secFontSz"/>
              <dgm:constr type="tMarg" refType="secFontSz" fact="0.15"/>
              <dgm:constr type="bMarg" refType="secFontSz" fact="0.15"/>
              <dgm:constr type="lMarg" refType="secFontSz" fact="0.15"/>
              <dgm:constr type="rMarg" refType="secFontSz" fact="0.15"/>
            </dgm:constrLst>
            <dgm:ruleLst>
              <dgm:rule type="secFontSz" val="5" fact="NaN" max="NaN"/>
            </dgm:ruleLst>
          </dgm:layoutNode>
          <dgm:layoutNode name="parentNode1" styleLbl="node1">
            <dgm:varLst>
              <dgm:chMax val="1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1"/>
              <dgm:constr type="bMarg" refType="primFontSz" fact="0.1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  <dgm:layoutNode name="connSite1" moveWith="childNode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forEach name="Name8" axis="followSib" ptType="sibTrans" cnt="1">
          <dgm:layoutNode name="Name9">
            <dgm:alg type="conn">
              <dgm:param type="connRout" val="curve"/>
              <dgm:param type="srcNode" val="parentNode1"/>
              <dgm:param type="dstNode" val="connSite2"/>
              <dgm:param type="begPts" val="bCtr"/>
              <dgm:param type="endPts" val="bCtr"/>
            </dgm:alg>
            <dgm:shape xmlns:r="http://schemas.openxmlformats.org/officeDocument/2006/relationships" type="conn" r:blip="" zOrderOff="-2">
              <dgm:adjLst/>
            </dgm:shape>
            <dgm:presOf axis="self"/>
            <dgm:choose name="Name10">
              <dgm:if name="Name11" func="var" arg="dir" op="equ" val="norm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-1.15"/>
                  <dgm:constr type="begPad"/>
                  <dgm:constr type="endPad"/>
                </dgm:constrLst>
              </dgm:if>
              <dgm:else name="Name12">
                <dgm:constrLst>
                  <dgm:constr type="h" refType="w" fact="0.35"/>
                  <dgm:constr type="wArH" refType="h"/>
                  <dgm:constr type="hArH" refType="h"/>
                  <dgm:constr type="connDist"/>
                  <dgm:constr type="diam" refType="connDist" fact="1.15"/>
                  <dgm:constr type="begPad"/>
                  <dgm:constr type="endPad"/>
                </dgm:constrLst>
              </dgm:else>
            </dgm:choose>
            <dgm:ruleLst/>
          </dgm:layoutNode>
        </dgm:forEach>
        <dgm:forEach name="Name13" axis="followSib" ptType="node" cnt="1">
          <dgm:layoutNode name="composite2">
            <dgm:alg type="composite">
              <dgm:param type="ar" val="0.943"/>
            </dgm:alg>
            <dgm:shape xmlns:r="http://schemas.openxmlformats.org/officeDocument/2006/relationships" r:blip="">
              <dgm:adjLst/>
            </dgm:shape>
            <dgm:presOf/>
            <dgm:choose name="Name14">
              <dgm:if name="Name15" func="var" arg="dir" op="equ" val="norm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 refType="w" fact="0.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25"/>
                </dgm:constrLst>
              </dgm:if>
              <dgm:else name="Name16">
                <dgm:constrLst>
                  <dgm:constr type="h" refType="w" fact="1.06"/>
                  <dgm:constr type="w" for="ch" forName="dummyNode2" refType="w"/>
                  <dgm:constr type="h" for="ch" forName="dummyNode2" refType="h"/>
                  <dgm:constr type="t" for="ch" forName="dummyNode2"/>
                  <dgm:constr type="l" for="ch" forName="dummyNode2"/>
                  <dgm:constr type="w" for="ch" forName="childNode2" refType="w" fact="0.9"/>
                  <dgm:constr type="h" for="ch" forName="childNode2" refType="h" fact="0.7"/>
                  <dgm:constr type="t" for="ch" forName="childNode2" refType="h" fact="0.15"/>
                  <dgm:constr type="l" for="ch" forName="childNode2" refType="w" fact="0.1"/>
                  <dgm:constr type="w" for="ch" forName="childNode2tx" refType="w" fact="0.9"/>
                  <dgm:constr type="h" for="ch" forName="childNode2tx" refType="h" fact="0.55"/>
                  <dgm:constr type="t" for="ch" forName="childNode2tx" refType="h" fact="0.3"/>
                  <dgm:constr type="l" for="ch" forName="childNode2tx" refType="w" fact="0.1"/>
                  <dgm:constr type="w" for="ch" forName="parentNode2" refType="w" fact="0.8"/>
                  <dgm:constr type="h" for="ch" forName="parentNode2" refType="h" fact="0.3"/>
                  <dgm:constr type="t" for="ch" forName="parentNode2"/>
                  <dgm:constr type="l" for="ch" forName="parentNode2"/>
                  <dgm:constr type="w" for="ch" forName="connSite2" refType="w" fact="0.01"/>
                  <dgm:constr type="h" for="ch" forName="connSite2" refType="h" fact="0.01"/>
                  <dgm:constr type="t" for="ch" forName="connSite2" refType="h" fact="0.99"/>
                  <dgm:constr type="l" for="ch" forName="connSite2" refType="w" fact="0.85"/>
                </dgm:constrLst>
              </dgm:else>
            </dgm:choose>
            <dgm:ruleLst/>
            <dgm:layoutNode name="dummyNode2">
              <dgm:alg type="sp"/>
              <dgm:shape xmlns:r="http://schemas.openxmlformats.org/officeDocument/2006/relationships" type="rect" r:blip="" hideGeom="1">
                <dgm:adjLst/>
              </dgm:shape>
              <dgm:presOf/>
              <dgm:constrLst/>
              <dgm:ruleLst/>
            </dgm:layoutNode>
            <dgm:layoutNode name="childNode2" styleLbl="bgAcc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des" ptType="node"/>
              <dgm:constrLst/>
              <dgm:ruleLst/>
            </dgm:layoutNode>
            <dgm:layoutNode name="childNode2tx" styleLbl="bgAcc1">
              <dgm:varLst>
                <dgm:bulletEnabled val="1"/>
              </dgm:varLst>
              <dgm:alg type="tx">
                <dgm:param type="stBulletLvl" val="1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15"/>
                <dgm:constr type="bMarg" refType="secFontSz" fact="0.15"/>
                <dgm:constr type="lMarg" refType="secFontSz" fact="0.15"/>
                <dgm:constr type="rMarg" refType="secFontSz" fact="0.15"/>
              </dgm:constrLst>
              <dgm:ruleLst>
                <dgm:rule type="secFontSz" val="5" fact="NaN" max="NaN"/>
              </dgm:ruleLst>
            </dgm:layoutNode>
            <dgm:layoutNode name="parentNode2" styleLbl="node1">
              <dgm:varLst>
                <dgm:chMax val="0"/>
                <dgm:bulletEnabled val="1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connSite2" moveWith="childNode2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layoutNode>
          <dgm:forEach name="Name17" axis="followSib" ptType="sibTrans" cnt="1">
            <dgm:layoutNode name="Name18">
              <dgm:alg type="conn">
                <dgm:param type="connRout" val="curve"/>
                <dgm:param type="srcNode" val="parentNode2"/>
                <dgm:param type="dstNode" val="connSite1"/>
                <dgm:param type="begPts" val="tCtr"/>
                <dgm:param type="endPts" val="tCtr"/>
              </dgm:alg>
              <dgm:shape xmlns:r="http://schemas.openxmlformats.org/officeDocument/2006/relationships" type="conn" r:blip="" zOrderOff="-2">
                <dgm:adjLst/>
              </dgm:shape>
              <dgm:presOf axis="self"/>
              <dgm:choose name="Name19">
                <dgm:if name="Name20" func="var" arg="dir" op="equ" val="norm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1.15"/>
                    <dgm:constr type="begPad"/>
                    <dgm:constr type="endPad"/>
                  </dgm:constrLst>
                </dgm:if>
                <dgm:else name="Name21">
                  <dgm:constrLst>
                    <dgm:constr type="h" refType="w" fact="0.35"/>
                    <dgm:constr type="wArH" refType="h"/>
                    <dgm:constr type="hArH" refType="h"/>
                    <dgm:constr type="connDist"/>
                    <dgm:constr type="diam" refType="connDist" fact="-1.15"/>
                    <dgm:constr type="begPad"/>
                    <dgm:constr type="endPad"/>
                  </dgm:constrLst>
                </dgm:else>
              </dgm:choose>
              <dgm:ruleLst/>
            </dgm:layoutNode>
          </dgm:forEach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3203" y="0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67ED08A8-A816-4782-BE87-44EB7AED2680}" type="datetimeFigureOut">
              <a:rPr lang="nb-NO" smtClean="0"/>
              <a:t>22.11.2018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3203" y="9722309"/>
            <a:ext cx="3079202" cy="512304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9B8502BE-D341-4C63-8182-9BF5CE6340B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57688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3078427" cy="513508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5" y="0"/>
            <a:ext cx="3078427" cy="513508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4900D18D-C702-4BF6-B811-19DED017F83F}" type="datetimeFigureOut">
              <a:rPr lang="en-GB" smtClean="0"/>
              <a:t>22/11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20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8"/>
            <a:ext cx="5683250" cy="4029879"/>
          </a:xfrm>
          <a:prstGeom prst="rect">
            <a:avLst/>
          </a:prstGeom>
        </p:spPr>
        <p:txBody>
          <a:bodyPr vert="horz" lIns="94796" tIns="47398" rIns="94796" bIns="47398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721108"/>
            <a:ext cx="3078427" cy="513507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5" y="9721108"/>
            <a:ext cx="3078427" cy="513507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EA04AADD-E2E8-4BC2-A45F-A2A2ADCED33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17431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04AADD-E2E8-4BC2-A45F-A2A2ADCED33C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319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04AADD-E2E8-4BC2-A45F-A2A2ADCED33C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9980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04AADD-E2E8-4BC2-A45F-A2A2ADCED33C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08828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99" y="247275"/>
            <a:ext cx="8914814" cy="4794625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16" b="44674"/>
          <a:stretch/>
        </p:blipFill>
        <p:spPr>
          <a:xfrm>
            <a:off x="125999" y="1455738"/>
            <a:ext cx="8914814" cy="1174250"/>
          </a:xfrm>
          <a:prstGeom prst="rect">
            <a:avLst/>
          </a:prstGeom>
        </p:spPr>
      </p:pic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349648" y="2383437"/>
            <a:ext cx="8419598" cy="440909"/>
          </a:xfrm>
          <a:prstGeom prst="rect">
            <a:avLst/>
          </a:prstGeom>
        </p:spPr>
        <p:txBody>
          <a:bodyPr/>
          <a:lstStyle>
            <a:lvl1pPr algn="ctr">
              <a:defRPr b="0" i="0" cap="all" spc="15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0"/>
          </p:nvPr>
        </p:nvSpPr>
        <p:spPr>
          <a:xfrm>
            <a:off x="1625029" y="3024265"/>
            <a:ext cx="5868591" cy="117506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b="0" spc="23" baseline="0">
                <a:solidFill>
                  <a:schemeClr val="bg1"/>
                </a:solidFill>
              </a:defRPr>
            </a:lvl1pPr>
            <a:lvl2pPr marL="2381" indent="0" algn="ctr">
              <a:lnSpc>
                <a:spcPct val="100000"/>
              </a:lnSpc>
              <a:spcBef>
                <a:spcPts val="1875"/>
              </a:spcBef>
              <a:buFontTx/>
              <a:buNone/>
              <a:tabLst/>
              <a:defRPr sz="900">
                <a:solidFill>
                  <a:schemeClr val="bg1"/>
                </a:solidFill>
              </a:defRPr>
            </a:lvl2pPr>
            <a:lvl3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3pPr>
            <a:lvl4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4pPr>
            <a:lvl5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505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 userDrawn="1"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735014"/>
            <a:ext cx="3969544" cy="39965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735014"/>
            <a:ext cx="3969544" cy="39965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 userDrawn="1"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467918" y="735014"/>
            <a:ext cx="3969146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5" y="735013"/>
            <a:ext cx="3970338" cy="61277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dirty="0" err="1"/>
              <a:t>Headlin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981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4900" y="1455738"/>
            <a:ext cx="3969544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7256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4717256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7726741" y="1455738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7725947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950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5" pos="5471" userDrawn="1">
          <p15:clr>
            <a:srgbClr val="FBAE40"/>
          </p15:clr>
        </p15:guide>
        <p15:guide id="6" pos="295" userDrawn="1">
          <p15:clr>
            <a:srgbClr val="FBAE40"/>
          </p15:clr>
        </p15:guide>
        <p15:guide id="7" orient="horz" pos="29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0176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470176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3479661" y="1455738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3478867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8" name="Plassholder for innhold 6"/>
          <p:cNvSpPr>
            <a:spLocks noGrp="1"/>
          </p:cNvSpPr>
          <p:nvPr>
            <p:ph sz="quarter" idx="23" hasCustomPrompt="1"/>
          </p:nvPr>
        </p:nvSpPr>
        <p:spPr>
          <a:xfrm>
            <a:off x="4718843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9" name="Plassholder for innhold 6"/>
          <p:cNvSpPr>
            <a:spLocks noGrp="1"/>
          </p:cNvSpPr>
          <p:nvPr>
            <p:ph sz="quarter" idx="24" hasCustomPrompt="1"/>
          </p:nvPr>
        </p:nvSpPr>
        <p:spPr>
          <a:xfrm>
            <a:off x="4718843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0" name="Plassholder for tekst 15"/>
          <p:cNvSpPr>
            <a:spLocks noGrp="1"/>
          </p:cNvSpPr>
          <p:nvPr>
            <p:ph type="body" sz="quarter" idx="25" hasCustomPrompt="1"/>
          </p:nvPr>
        </p:nvSpPr>
        <p:spPr>
          <a:xfrm>
            <a:off x="7727534" y="1455737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2" name="Plassholder for tekst 15"/>
          <p:cNvSpPr>
            <a:spLocks noGrp="1"/>
          </p:cNvSpPr>
          <p:nvPr>
            <p:ph type="body" sz="quarter" idx="27" hasCustomPrompt="1"/>
          </p:nvPr>
        </p:nvSpPr>
        <p:spPr>
          <a:xfrm>
            <a:off x="7727534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9190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5" pos="5471">
          <p15:clr>
            <a:srgbClr val="FBAE40"/>
          </p15:clr>
        </p15:guide>
        <p15:guide id="6" pos="295">
          <p15:clr>
            <a:srgbClr val="FBAE40"/>
          </p15:clr>
        </p15:guide>
        <p15:guide id="7" orient="horz" pos="298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Rett linje 13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467696" y="1455738"/>
            <a:ext cx="2713968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3439716" y="1995688"/>
            <a:ext cx="5245497" cy="2735857"/>
          </a:xfrm>
          <a:prstGeom prst="rect">
            <a:avLst/>
          </a:prstGeom>
        </p:spPr>
        <p:txBody>
          <a:bodyPr r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15" name="Bild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3439716" y="1455738"/>
            <a:ext cx="3968751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4349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271396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3440243" y="1455738"/>
            <a:ext cx="5244970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17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271396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3440242" y="1455738"/>
            <a:ext cx="416834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7726741" y="1455738"/>
            <a:ext cx="958472" cy="32758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9588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5412197" cy="3275806"/>
          </a:xfrm>
          <a:prstGeom prst="rect">
            <a:avLst/>
          </a:prstGeom>
        </p:spPr>
        <p:txBody>
          <a:bodyPr/>
          <a:lstStyle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138472" y="2147013"/>
            <a:ext cx="2548328" cy="25845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8471" y="1455738"/>
            <a:ext cx="2545947" cy="5833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9281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4717799" y="1995686"/>
            <a:ext cx="3969544" cy="27358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cxnSp>
        <p:nvCxnSpPr>
          <p:cNvPr id="13" name="Rett linje 12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4717799" y="1455737"/>
            <a:ext cx="3966620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467519" y="1455739"/>
            <a:ext cx="3969544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22" name="Bilde 2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3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lassholder for innhold 6"/>
          <p:cNvSpPr>
            <a:spLocks noGrp="1"/>
          </p:cNvSpPr>
          <p:nvPr>
            <p:ph sz="quarter" idx="19"/>
          </p:nvPr>
        </p:nvSpPr>
        <p:spPr>
          <a:xfrm>
            <a:off x="467519" y="1996482"/>
            <a:ext cx="3969544" cy="27358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20"/>
          </p:nvPr>
        </p:nvSpPr>
        <p:spPr>
          <a:xfrm>
            <a:off x="4718049" y="1996482"/>
            <a:ext cx="3968751" cy="27358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pic>
        <p:nvPicPr>
          <p:cNvPr id="23" name="Bilde 2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2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467519" y="1455617"/>
            <a:ext cx="3961209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49" y="1455617"/>
            <a:ext cx="3968751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485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31" b="1"/>
          <a:stretch/>
        </p:blipFill>
        <p:spPr>
          <a:xfrm>
            <a:off x="125999" y="4650237"/>
            <a:ext cx="8914814" cy="391664"/>
          </a:xfrm>
          <a:prstGeom prst="rect">
            <a:avLst/>
          </a:prstGeom>
        </p:spPr>
      </p:pic>
      <p:sp>
        <p:nvSpPr>
          <p:cNvPr id="12" name="Plassholder f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18048" y="4650236"/>
            <a:ext cx="5868591" cy="394341"/>
          </a:xfrm>
          <a:prstGeom prst="rect">
            <a:avLst/>
          </a:prstGeom>
        </p:spPr>
        <p:txBody>
          <a:bodyPr wrap="none" lIns="108000" tIns="72000" anchor="t" anchorCtr="0">
            <a:noAutofit/>
          </a:bodyPr>
          <a:lstStyle>
            <a:lvl1pPr marL="0" indent="0" algn="l">
              <a:buNone/>
              <a:defRPr sz="1100" b="0" cap="all" spc="15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750" baseline="0">
                <a:solidFill>
                  <a:schemeClr val="bg1"/>
                </a:solidFill>
              </a:defRPr>
            </a:lvl2pPr>
            <a:lvl3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3pPr>
            <a:lvl4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4pPr>
            <a:lvl5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Sett inn tittel</a:t>
            </a:r>
          </a:p>
          <a:p>
            <a:pPr lvl="1"/>
            <a:r>
              <a:rPr lang="nb-NO" dirty="0"/>
              <a:t>Sett inn navn, dato etc.</a:t>
            </a: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726"/>
          <a:stretch/>
        </p:blipFill>
        <p:spPr>
          <a:xfrm>
            <a:off x="125999" y="247275"/>
            <a:ext cx="8914814" cy="924113"/>
          </a:xfrm>
          <a:prstGeom prst="rect">
            <a:avLst/>
          </a:prstGeom>
        </p:spPr>
      </p:pic>
      <p:sp>
        <p:nvSpPr>
          <p:cNvPr id="6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126000" y="1455739"/>
            <a:ext cx="8914814" cy="314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825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963266" y="735014"/>
            <a:ext cx="7217467" cy="39973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tabLst/>
              <a:defRPr sz="3600" b="1" baseline="0">
                <a:solidFill>
                  <a:schemeClr val="accent1"/>
                </a:solidFill>
              </a:defRPr>
            </a:lvl1pPr>
            <a:lvl2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nb-NO" dirty="0"/>
              <a:t>Skriv inn tema/kapittel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-28575" y="610002"/>
            <a:ext cx="9186863" cy="45646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 dirty="0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26295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201266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/>
          <p:cNvCxnSpPr/>
          <p:nvPr userDrawn="1"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67695" y="1455738"/>
            <a:ext cx="8219104" cy="32758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baseline="0"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0509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/>
          <p:cNvCxnSpPr/>
          <p:nvPr userDrawn="1"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67695" y="735014"/>
            <a:ext cx="8219104" cy="39965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baseline="0"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7048500" y="1455739"/>
            <a:ext cx="1636713" cy="32758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 dirty="0"/>
              <a:t>Figurtekst</a:t>
            </a:r>
          </a:p>
        </p:txBody>
      </p:sp>
      <p:sp>
        <p:nvSpPr>
          <p:cNvPr id="16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13" name="Plassholder for innhold 6"/>
          <p:cNvSpPr>
            <a:spLocks noGrp="1"/>
          </p:cNvSpPr>
          <p:nvPr>
            <p:ph sz="quarter" idx="22" hasCustomPrompt="1"/>
          </p:nvPr>
        </p:nvSpPr>
        <p:spPr>
          <a:xfrm>
            <a:off x="467695" y="1455738"/>
            <a:ext cx="6394138" cy="32758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4452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 userDrawn="1"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dirty="0"/>
              <a:t>Sett inn tekst/ bilde/ diagram/ tabell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dirty="0" err="1"/>
              <a:t>Headline</a:t>
            </a:r>
            <a:endParaRPr lang="nb-NO" dirty="0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933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723886735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06541" y="4860331"/>
            <a:ext cx="2414818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50" cap="all" spc="225" baseline="0">
                <a:solidFill>
                  <a:schemeClr val="accent1"/>
                </a:solidFill>
              </a:defRPr>
            </a:lvl1pPr>
          </a:lstStyle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695" y="4860331"/>
            <a:ext cx="3707754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50" cap="all" spc="150" baseline="0">
                <a:solidFill>
                  <a:schemeClr val="accent1"/>
                </a:solidFill>
              </a:defRPr>
            </a:lvl1pPr>
          </a:lstStyle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28384" y="4860331"/>
            <a:ext cx="858416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750" spc="150" baseline="0">
                <a:solidFill>
                  <a:schemeClr val="accent1"/>
                </a:solidFill>
              </a:defRPr>
            </a:lvl1pPr>
          </a:lstStyle>
          <a:p>
            <a:r>
              <a:rPr lang="nb-NO" dirty="0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5698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13" r:id="rId3"/>
    <p:sldLayoutId id="2147483719" r:id="rId4"/>
    <p:sldLayoutId id="2147483729" r:id="rId5"/>
    <p:sldLayoutId id="2147483708" r:id="rId6"/>
    <p:sldLayoutId id="2147483735" r:id="rId7"/>
    <p:sldLayoutId id="2147483731" r:id="rId8"/>
    <p:sldLayoutId id="2147483689" r:id="rId9"/>
    <p:sldLayoutId id="2147483736" r:id="rId10"/>
    <p:sldLayoutId id="2147483732" r:id="rId11"/>
    <p:sldLayoutId id="2147483710" r:id="rId12"/>
    <p:sldLayoutId id="2147483734" r:id="rId13"/>
    <p:sldLayoutId id="2147483715" r:id="rId14"/>
    <p:sldLayoutId id="2147483711" r:id="rId15"/>
    <p:sldLayoutId id="2147483733" r:id="rId16"/>
    <p:sldLayoutId id="2147483712" r:id="rId17"/>
    <p:sldLayoutId id="2147483714" r:id="rId18"/>
    <p:sldLayoutId id="214748371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accent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180975" indent="-180975" algn="l" defTabSz="6858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charset="0"/>
        <a:buChar char="•"/>
        <a:tabLst/>
        <a:defRPr sz="18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1pPr>
      <a:lvl2pPr marL="311150" indent="-130175" algn="l" defTabSz="685800" rtl="0" eaLnBrk="1" latinLnBrk="0" hangingPunct="1">
        <a:lnSpc>
          <a:spcPct val="100000"/>
        </a:lnSpc>
        <a:spcBef>
          <a:spcPts val="300"/>
        </a:spcBef>
        <a:buClrTx/>
        <a:buSzPct val="100000"/>
        <a:buFont typeface=".AppleSystemUIFont" charset="-120"/>
        <a:buChar char="‑"/>
        <a:tabLst/>
        <a:defRPr sz="15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2pPr>
      <a:lvl3pPr marL="447675" indent="-136525" algn="l" defTabSz="685800" rtl="0" eaLnBrk="1" latinLnBrk="0" hangingPunct="1">
        <a:lnSpc>
          <a:spcPct val="100000"/>
        </a:lnSpc>
        <a:spcBef>
          <a:spcPts val="300"/>
        </a:spcBef>
        <a:buFont typeface=".AppleSystemUIFont" charset="-120"/>
        <a:buChar char="‑"/>
        <a:tabLst/>
        <a:defRPr sz="1300" b="0" i="1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3pPr>
      <a:lvl4pPr marL="577850" indent="-130175" algn="l" defTabSz="685800" rtl="0" eaLnBrk="1" latinLnBrk="0" hangingPunct="1">
        <a:lnSpc>
          <a:spcPct val="100000"/>
        </a:lnSpc>
        <a:spcBef>
          <a:spcPts val="300"/>
        </a:spcBef>
        <a:buFont typeface=".AppleSystemUIFont" charset="-120"/>
        <a:buChar char="‑"/>
        <a:tabLst/>
        <a:defRPr sz="11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4pPr>
      <a:lvl5pPr marL="6350" indent="0" algn="l" defTabSz="685800" rtl="0" eaLnBrk="1" latinLnBrk="0" hangingPunct="1">
        <a:lnSpc>
          <a:spcPct val="100000"/>
        </a:lnSpc>
        <a:spcBef>
          <a:spcPts val="1000"/>
        </a:spcBef>
        <a:buFont typeface=".AppleSystemUIFont" charset="-120"/>
        <a:buNone/>
        <a:tabLst/>
        <a:defRPr sz="9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9" orient="horz" pos="463" userDrawn="1">
          <p15:clr>
            <a:srgbClr val="F26B43"/>
          </p15:clr>
        </p15:guide>
        <p15:guide id="10" orient="horz" pos="849" userDrawn="1">
          <p15:clr>
            <a:srgbClr val="F26B43"/>
          </p15:clr>
        </p15:guide>
        <p15:guide id="11" orient="horz" pos="917" userDrawn="1">
          <p15:clr>
            <a:srgbClr val="F26B43"/>
          </p15:clr>
        </p15:guide>
        <p15:guide id="12" orient="horz" pos="2981" userDrawn="1">
          <p15:clr>
            <a:srgbClr val="F26B43"/>
          </p15:clr>
        </p15:guide>
        <p15:guide id="13" pos="295" userDrawn="1">
          <p15:clr>
            <a:srgbClr val="F26B43"/>
          </p15:clr>
        </p15:guide>
        <p15:guide id="14" pos="5471" userDrawn="1">
          <p15:clr>
            <a:srgbClr val="F26B43"/>
          </p15:clr>
        </p15:guide>
        <p15:guide id="15" pos="2795" userDrawn="1">
          <p15:clr>
            <a:srgbClr val="F26B43"/>
          </p15:clr>
        </p15:guide>
        <p15:guide id="16" pos="2970" userDrawn="1">
          <p15:clr>
            <a:srgbClr val="F26B43"/>
          </p15:clr>
        </p15:guide>
        <p15:guide id="17" pos="75" userDrawn="1">
          <p15:clr>
            <a:srgbClr val="F26B43"/>
          </p15:clr>
        </p15:guide>
        <p15:guide id="18" pos="5695" userDrawn="1">
          <p15:clr>
            <a:srgbClr val="F26B43"/>
          </p15:clr>
        </p15:guide>
        <p15:guide id="19" orient="horz" pos="317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VALUERING AV Norsk arkivstandard</a:t>
            </a:r>
            <a:endParaRPr lang="en-GB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/>
          </p:nvPr>
        </p:nvSpPr>
        <p:spPr>
          <a:xfrm>
            <a:off x="1625029" y="3024265"/>
            <a:ext cx="5868591" cy="1598535"/>
          </a:xfrm>
        </p:spPr>
        <p:txBody>
          <a:bodyPr/>
          <a:lstStyle/>
          <a:p>
            <a:r>
              <a:rPr lang="nb-NO" dirty="0"/>
              <a:t>Fagdag, Arkivverket</a:t>
            </a:r>
          </a:p>
          <a:p>
            <a:pPr lvl="1"/>
            <a:r>
              <a:rPr lang="nb-NO" dirty="0"/>
              <a:t>Oslo, 19. november 2018</a:t>
            </a:r>
          </a:p>
          <a:p>
            <a:pPr lvl="1"/>
            <a:r>
              <a:rPr lang="nb-NO" sz="1600" dirty="0"/>
              <a:t>Øyvind N. Handberg</a:t>
            </a:r>
            <a:br>
              <a:rPr lang="nb-NO" sz="1600" dirty="0"/>
            </a:br>
            <a:r>
              <a:rPr lang="nb-NO" dirty="0"/>
              <a:t>oyvind@menon.no </a:t>
            </a:r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159134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avlevering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b-NO" b="1" dirty="0"/>
              <a:t>Noark bidrar til avlevering av arkivmateriale, men med betydelige kostnader og begrenset måloppnåelse</a:t>
            </a:r>
            <a:endParaRPr lang="nb-NO" sz="900" b="1" dirty="0"/>
          </a:p>
          <a:p>
            <a:endParaRPr lang="nb-NO" dirty="0"/>
          </a:p>
          <a:p>
            <a:r>
              <a:rPr lang="nb-NO" dirty="0"/>
              <a:t>Sak- og arkivsystemer vs. fagsystemer</a:t>
            </a:r>
          </a:p>
          <a:p>
            <a:r>
              <a:rPr lang="nb-NO" dirty="0"/>
              <a:t>Ikke gitt at «Noark-godkjente» løsninger produserer samme uttrekk</a:t>
            </a:r>
          </a:p>
          <a:p>
            <a:pPr lvl="1"/>
            <a:r>
              <a:rPr lang="nb-NO" dirty="0"/>
              <a:t>Få (og omdiskuterte) undersøkelser av dette</a:t>
            </a:r>
            <a:endParaRPr lang="en-GB" dirty="0"/>
          </a:p>
          <a:p>
            <a:r>
              <a:rPr lang="nb-NO" dirty="0"/>
              <a:t>Statlig vs. kommunalt nivå</a:t>
            </a:r>
          </a:p>
          <a:p>
            <a:pPr lvl="1"/>
            <a:r>
              <a:rPr lang="nb-NO" dirty="0"/>
              <a:t>Statlige virksomheter rapporterer å være jevnt over tilfredse med avlevering til Arkivverket</a:t>
            </a:r>
          </a:p>
          <a:p>
            <a:pPr lvl="1"/>
            <a:r>
              <a:rPr lang="nb-NO" dirty="0"/>
              <a:t>Brukes nå mer skjønn ved statlig avlevering</a:t>
            </a:r>
          </a:p>
          <a:p>
            <a:pPr lvl="1"/>
            <a:r>
              <a:rPr lang="nb-NO" dirty="0"/>
              <a:t>Fortsatt mer rigid og vanskelig på kommunalt nivå (deponering til IKA) </a:t>
            </a:r>
          </a:p>
          <a:p>
            <a:pPr lvl="1"/>
            <a:r>
              <a:rPr lang="nb-NO" dirty="0"/>
              <a:t>Rapporteres at arkivmateriale redigeres for å kunne godkjennes ved deponering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0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86040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felleskomponenter og -løsninger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Noark har bidratt til å muliggjøre løsninger som utnytter dens standardisering av informasjon</a:t>
            </a:r>
            <a:endParaRPr lang="nb-NO" sz="900" b="1" dirty="0"/>
          </a:p>
          <a:p>
            <a:pPr marL="0" indent="0">
              <a:buNone/>
            </a:pPr>
            <a:endParaRPr lang="nb-NO" sz="900" dirty="0"/>
          </a:p>
          <a:p>
            <a:r>
              <a:rPr lang="nb-NO" dirty="0"/>
              <a:t>Standardisering tilrettelegger for å dele informasjon mellom løsninger og virksomheter</a:t>
            </a:r>
          </a:p>
          <a:p>
            <a:pPr lvl="1"/>
            <a:r>
              <a:rPr lang="nb-NO" dirty="0"/>
              <a:t>OEP, </a:t>
            </a:r>
            <a:r>
              <a:rPr lang="nb-NO" dirty="0" err="1"/>
              <a:t>eInnsyn</a:t>
            </a:r>
            <a:endParaRPr lang="nb-NO" dirty="0"/>
          </a:p>
          <a:p>
            <a:r>
              <a:rPr lang="nb-NO" dirty="0"/>
              <a:t>Men, ikke gitt at dette ikke kunne løses bedre eller mer kostnadseffektivt med andre virkemidler</a:t>
            </a:r>
          </a:p>
          <a:p>
            <a:pPr lvl="1"/>
            <a:r>
              <a:rPr lang="nb-NO" dirty="0"/>
              <a:t>Skal dette forstås som et formål eller en positiv virkning av Noark?</a:t>
            </a:r>
          </a:p>
          <a:p>
            <a:pPr lvl="1"/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8327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digitalisering i offentlig forvaltning mer generelt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Noark begrenser mulighetene i digitalisering for å fornye, forenkle og forbedre</a:t>
            </a:r>
            <a:endParaRPr lang="nb-NO" sz="900" b="1" dirty="0"/>
          </a:p>
          <a:p>
            <a:pPr marL="0" indent="0">
              <a:buNone/>
            </a:pPr>
            <a:endParaRPr lang="nb-NO" sz="900" dirty="0"/>
          </a:p>
          <a:p>
            <a:r>
              <a:rPr lang="nb-NO" dirty="0"/>
              <a:t>Noark begrenser innovasjon av nye løsninger for elektronisk forvaltning</a:t>
            </a:r>
          </a:p>
          <a:p>
            <a:pPr lvl="1"/>
            <a:r>
              <a:rPr lang="nb-NO" dirty="0"/>
              <a:t>Vrir markedet over på innkjøpspris framfor effektive og brukervennlige løsninger</a:t>
            </a:r>
          </a:p>
          <a:p>
            <a:pPr lvl="1"/>
            <a:r>
              <a:rPr lang="nb-NO" dirty="0"/>
              <a:t>Men etterspørselssiden viktig!</a:t>
            </a:r>
          </a:p>
          <a:p>
            <a:r>
              <a:rPr lang="nb-NO" dirty="0"/>
              <a:t>Innovasjon og produktivitetsvekst henger tett sammen</a:t>
            </a:r>
          </a:p>
          <a:p>
            <a:r>
              <a:rPr lang="nb-NO" dirty="0"/>
              <a:t>Noark er ikke forenelig med målsetningen om å fornye, forenkle og forbedre offentlig forvaltning</a:t>
            </a:r>
          </a:p>
          <a:p>
            <a:pPr lvl="1"/>
            <a:r>
              <a:rPr lang="nb-NO" dirty="0"/>
              <a:t>Med potensielt svært store kostnader</a:t>
            </a:r>
          </a:p>
          <a:p>
            <a:pPr lvl="1"/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91625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646FA7B-1981-4A22-BC27-85C7D49B1AA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Hva nå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5248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D1D527-16B1-4C0A-839F-D2458265F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nbefalinger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260CD8-E2A9-46E4-979C-BD49AAF19543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67695" y="1455738"/>
            <a:ext cx="8219104" cy="3275807"/>
          </a:xfrm>
        </p:spPr>
        <p:txBody>
          <a:bodyPr>
            <a:normAutofit fontScale="92500" lnSpcReduction="20000"/>
          </a:bodyPr>
          <a:lstStyle/>
          <a:p>
            <a:r>
              <a:rPr lang="nb-NO" dirty="0"/>
              <a:t>Noark 5 svarer på mange av utfordringene, men forskjellen fra virksomhetenes synspunkt har vært liten</a:t>
            </a:r>
          </a:p>
          <a:p>
            <a:pPr lvl="1"/>
            <a:r>
              <a:rPr lang="nb-NO" dirty="0"/>
              <a:t>Hvorfor skal leverandører benytte seg av mulighetene i Noark 5 (utover uttrekk) når det hverken kreves eller etterspørres av innkjøpere?</a:t>
            </a:r>
          </a:p>
          <a:p>
            <a:r>
              <a:rPr lang="nb-NO" dirty="0"/>
              <a:t>Et tydelig brudd kan være kostbart men lønnsomt på lengre sikt</a:t>
            </a:r>
          </a:p>
          <a:p>
            <a:endParaRPr lang="nb-NO" sz="900" dirty="0"/>
          </a:p>
          <a:p>
            <a:r>
              <a:rPr lang="nb-NO" dirty="0"/>
              <a:t>Å lene seg mer på internasjonale standarder kan åpne mulighetsrommet</a:t>
            </a:r>
          </a:p>
          <a:p>
            <a:pPr lvl="1"/>
            <a:r>
              <a:rPr lang="nb-NO" dirty="0"/>
              <a:t>Spissing av standarden</a:t>
            </a:r>
          </a:p>
          <a:p>
            <a:pPr lvl="1"/>
            <a:r>
              <a:rPr lang="nb-NO" dirty="0"/>
              <a:t>Desentralisering - mer utøvelse av skjønn av lovverk sammen med økt tilsyn</a:t>
            </a:r>
          </a:p>
          <a:p>
            <a:pPr lvl="1"/>
            <a:r>
              <a:rPr lang="nb-NO" dirty="0"/>
              <a:t>Godkjenningsordningen</a:t>
            </a:r>
          </a:p>
          <a:p>
            <a:endParaRPr lang="nb-NO" sz="900" dirty="0"/>
          </a:p>
          <a:p>
            <a:r>
              <a:rPr lang="nb-NO" dirty="0"/>
              <a:t>Åpen og konstruktiv dialog er viktig </a:t>
            </a:r>
          </a:p>
          <a:p>
            <a:pPr lvl="1"/>
            <a:r>
              <a:rPr lang="nb-NO" dirty="0"/>
              <a:t>Svært positivt at Arkivverket skaper arenaer for dialog </a:t>
            </a:r>
          </a:p>
          <a:p>
            <a:pPr lvl="1"/>
            <a:r>
              <a:rPr lang="nb-NO" dirty="0"/>
              <a:t>Noark må ikke bli en skyteskive for alt galt i offentlig forvaltning og arkivsektor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0794774-A0D2-4C39-BEDD-58037CC5457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Diskusjo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480D9F-370A-4988-8C9E-804E1A62301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D9EABD-EBC8-45A5-87C4-4B6DF313D03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7AF69D3-1006-45F8-B187-FF7210E5C97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3621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65136F70-D72A-4AF5-BE82-A09BCBB6B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er formålet til Noark?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E59EE88C-EE29-47C7-A679-5F5D97B94D59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 dirty="0"/>
              <a:t>I hvilken grad skal Noark være et middel for å fange og lagre bevaringsverdig dokumentasjon?</a:t>
            </a:r>
          </a:p>
          <a:p>
            <a:pPr lvl="1"/>
            <a:r>
              <a:rPr lang="nb-NO" dirty="0"/>
              <a:t>I hvilken grad skal Noark fokuserer på journalføring?</a:t>
            </a:r>
          </a:p>
          <a:p>
            <a:r>
              <a:rPr lang="nb-NO" dirty="0"/>
              <a:t>I hvilken grad skal Noark være et middel for å forbedre dokumentasjonsforvaltning i offentlig forvaltning?</a:t>
            </a:r>
          </a:p>
          <a:p>
            <a:r>
              <a:rPr lang="nb-NO" dirty="0"/>
              <a:t>I hvilken grad skal Noark tilrettelegge for innsyn?</a:t>
            </a:r>
          </a:p>
          <a:p>
            <a:endParaRPr lang="nb-NO" dirty="0"/>
          </a:p>
          <a:p>
            <a:r>
              <a:rPr lang="nb-NO" dirty="0"/>
              <a:t>Formålene er ikke nødvendigvis motsetninger, men å fokusere på et kan ha konsekvenser for andre.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D2DCAE-DA03-4BE0-A9E8-E789D7691BE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Diskusjo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94A6E25-69CE-4440-8E06-E05D69B22EA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5407A05-46BC-4E3E-894E-CFA4BF60EA2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1A98E2E-46AC-4CD3-960D-E9A5397C3EC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48754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picture containing indoor, tool, sitting, table&#10;&#10;Description generated with high confidence">
            <a:extLst>
              <a:ext uri="{FF2B5EF4-FFF2-40B4-BE49-F238E27FC236}">
                <a16:creationId xmlns:a16="http://schemas.microsoft.com/office/drawing/2014/main" id="{9694CB6E-28CC-45A4-ACA3-EF6693C46042}"/>
              </a:ext>
            </a:extLst>
          </p:cNvPr>
          <p:cNvPicPr>
            <a:picLocks noGrp="1" noChangeAspect="1"/>
          </p:cNvPicPr>
          <p:nvPr>
            <p:ph sz="quarter" idx="17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648" y="1806633"/>
            <a:ext cx="3956209" cy="2395971"/>
          </a:xfrm>
        </p:spPr>
      </p:pic>
      <p:sp>
        <p:nvSpPr>
          <p:cNvPr id="30" name="Content Placeholder 29">
            <a:extLst>
              <a:ext uri="{FF2B5EF4-FFF2-40B4-BE49-F238E27FC236}">
                <a16:creationId xmlns:a16="http://schemas.microsoft.com/office/drawing/2014/main" id="{B5A2AA18-2E7A-4FDE-8F02-0A6926DC2FB3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Resultat</a:t>
            </a:r>
            <a:endParaRPr lang="en-GB" dirty="0"/>
          </a:p>
        </p:txBody>
      </p:sp>
      <p:sp>
        <p:nvSpPr>
          <p:cNvPr id="28" name="Title 27">
            <a:extLst>
              <a:ext uri="{FF2B5EF4-FFF2-40B4-BE49-F238E27FC236}">
                <a16:creationId xmlns:a16="http://schemas.microsoft.com/office/drawing/2014/main" id="{BD81C92A-14CD-48D3-9468-F5E9A29B8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lere formål med samme middel har konsekvenser for måloppnåelse</a:t>
            </a:r>
            <a:endParaRPr lang="en-GB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B3C19FD-F34F-44BF-963F-79F502CD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Diskusjo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7613E71-9B9E-4B65-BE52-F8B3B380BB4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ED15316-C0FE-4682-9D11-1065458F741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4C3B89A-B5ED-4587-B67A-DCEF88BE47A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6</a:t>
            </a:fld>
            <a:endParaRPr lang="nb-NO" dirty="0"/>
          </a:p>
        </p:txBody>
      </p:sp>
      <p:pic>
        <p:nvPicPr>
          <p:cNvPr id="17" name="Picture 16" descr="A close up of a knife&#10;&#10;Description generated with high confidence">
            <a:extLst>
              <a:ext uri="{FF2B5EF4-FFF2-40B4-BE49-F238E27FC236}">
                <a16:creationId xmlns:a16="http://schemas.microsoft.com/office/drawing/2014/main" id="{D965C249-E8B4-494E-B7C1-8C12CC6D5D9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263461" y="1919495"/>
            <a:ext cx="2553209" cy="2993138"/>
          </a:xfrm>
          <a:prstGeom prst="rect">
            <a:avLst/>
          </a:prstGeom>
        </p:spPr>
      </p:pic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713E3EC-8685-477C-8D0D-B298F41E3F67}"/>
              </a:ext>
            </a:extLst>
          </p:cNvPr>
          <p:cNvSpPr txBox="1">
            <a:spLocks/>
          </p:cNvSpPr>
          <p:nvPr/>
        </p:nvSpPr>
        <p:spPr>
          <a:xfrm>
            <a:off x="467695" y="1455738"/>
            <a:ext cx="8219104" cy="3275807"/>
          </a:xfrm>
          <a:prstGeom prst="rect">
            <a:avLst/>
          </a:prstGeom>
        </p:spPr>
        <p:txBody>
          <a:bodyPr>
            <a:normAutofit/>
          </a:bodyPr>
          <a:lstStyle>
            <a:lvl1pPr marL="180975" indent="-180975" algn="l" defTabSz="6858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2"/>
              </a:buClr>
              <a:buFont typeface="Arial" charset="0"/>
              <a:buChar char="•"/>
              <a:tabLst/>
              <a:defRPr sz="1800" b="0" i="0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311150" indent="-1301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ClrTx/>
              <a:buSzPct val="100000"/>
              <a:buFont typeface=".AppleSystemUIFont" charset="-120"/>
              <a:buChar char="‑"/>
              <a:tabLst/>
              <a:defRPr sz="15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447675" indent="-13652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.AppleSystemUIFont" charset="-120"/>
              <a:buChar char="‑"/>
              <a:tabLst/>
              <a:defRPr sz="1300" b="0" i="1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577850" indent="-130175" algn="l" defTabSz="685800" rtl="0" eaLnBrk="1" latinLnBrk="0" hangingPunct="1">
              <a:lnSpc>
                <a:spcPct val="100000"/>
              </a:lnSpc>
              <a:spcBef>
                <a:spcPts val="300"/>
              </a:spcBef>
              <a:buFont typeface=".AppleSystemUIFont" charset="-120"/>
              <a:buChar char="‑"/>
              <a:tabLst/>
              <a:defRPr sz="11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6350" indent="0" algn="l" defTabSz="685800" rtl="0" eaLnBrk="1" latinLnBrk="0" hangingPunct="1">
              <a:lnSpc>
                <a:spcPct val="100000"/>
              </a:lnSpc>
              <a:spcBef>
                <a:spcPts val="1000"/>
              </a:spcBef>
              <a:buFont typeface=".AppleSystemUIFont" charset="-120"/>
              <a:buNone/>
              <a:tabLst/>
              <a:defRPr sz="9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975" lvl="1" indent="0">
              <a:buNone/>
            </a:pPr>
            <a:r>
              <a:rPr lang="nb-NO" sz="1800" dirty="0"/>
              <a:t>Tanke</a:t>
            </a:r>
            <a:endParaRPr lang="nb-NO" dirty="0"/>
          </a:p>
          <a:p>
            <a:pPr marL="180975" lvl="1" indent="0">
              <a:buNone/>
            </a:pPr>
            <a:endParaRPr lang="nb-NO" dirty="0"/>
          </a:p>
          <a:p>
            <a:pPr marL="180975" lvl="1" indent="0">
              <a:buNone/>
            </a:pPr>
            <a:endParaRPr lang="nb-NO" dirty="0"/>
          </a:p>
          <a:p>
            <a:pPr marL="180975" lvl="1" indent="0">
              <a:buNone/>
            </a:pPr>
            <a:endParaRPr lang="nb-NO" dirty="0"/>
          </a:p>
          <a:p>
            <a:endParaRPr lang="nb-NO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02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ssholder for tekst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Evaluering av Noark</a:t>
            </a:r>
          </a:p>
          <a:p>
            <a:pPr lvl="1"/>
            <a:r>
              <a:rPr lang="nb-NO" dirty="0"/>
              <a:t>Fagdag, 19. november 2018, Arkivverket</a:t>
            </a:r>
          </a:p>
        </p:txBody>
      </p:sp>
      <p:pic>
        <p:nvPicPr>
          <p:cNvPr id="6" name="Plassholder for bilde 5"/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38" b="3863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04159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FDD323-8583-48B1-94D6-D78ED64A34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Om oppdraget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F94394-F99B-41DE-8A7D-FB83FD4D2C2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67695" y="1455738"/>
            <a:ext cx="8219104" cy="3275807"/>
          </a:xfrm>
        </p:spPr>
        <p:txBody>
          <a:bodyPr/>
          <a:lstStyle/>
          <a:p>
            <a:r>
              <a:rPr lang="nb-NO" dirty="0"/>
              <a:t>Evaluering av Noark</a:t>
            </a:r>
          </a:p>
          <a:p>
            <a:pPr lvl="1"/>
            <a:r>
              <a:rPr lang="nb-NO" dirty="0"/>
              <a:t>Hvordan Noark virker – ikke hvordan det er tiltenkt</a:t>
            </a:r>
          </a:p>
          <a:p>
            <a:r>
              <a:rPr lang="nb-NO" dirty="0"/>
              <a:t>Oppdrag for Arkivlovutvalget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0ADE67-EBBF-4326-9C7F-FD9E0ABF9E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Bakgrun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A69E38-E215-4F60-9F4A-DC25FD717BC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89C67A-1630-4D02-B408-3D8D6C869E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 dirty="0"/>
              <a:t>Menon </a:t>
            </a:r>
            <a:r>
              <a:rPr lang="nb-NO" dirty="0" err="1"/>
              <a:t>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A4309A-894D-47FF-AFE0-D53E69457C1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2</a:t>
            </a:fld>
            <a:endParaRPr lang="nb-NO" dirty="0"/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817D78F8-BCDA-491F-ABCC-4664ADE0F6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3764160"/>
              </p:ext>
            </p:extLst>
          </p:nvPr>
        </p:nvGraphicFramePr>
        <p:xfrm>
          <a:off x="1950564" y="2071691"/>
          <a:ext cx="5389131" cy="30646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94818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3D91CA-C501-42D1-83B7-E166F197CF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er formålet til Noark?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8C03DA-1B1C-474D-8630-5502CAF993B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 dirty="0"/>
              <a:t>Norsk Arkivstandard</a:t>
            </a:r>
          </a:p>
          <a:p>
            <a:r>
              <a:rPr lang="nb-NO" dirty="0"/>
              <a:t>Selve standarden har ingen </a:t>
            </a:r>
            <a:r>
              <a:rPr lang="en-GB" dirty="0" err="1"/>
              <a:t>formålsformulering</a:t>
            </a:r>
            <a:endParaRPr lang="en-GB" dirty="0"/>
          </a:p>
          <a:p>
            <a:r>
              <a:rPr lang="nb-NO" dirty="0"/>
              <a:t>F</a:t>
            </a:r>
            <a:r>
              <a:rPr lang="en-GB" dirty="0" err="1"/>
              <a:t>ra</a:t>
            </a:r>
            <a:r>
              <a:rPr lang="en-GB" dirty="0"/>
              <a:t> arkivverket.no:</a:t>
            </a:r>
          </a:p>
          <a:p>
            <a:pPr marL="0" indent="0">
              <a:buNone/>
            </a:pPr>
            <a:endParaRPr lang="en-GB" sz="900" i="1" dirty="0"/>
          </a:p>
          <a:p>
            <a:pPr marL="0" indent="0">
              <a:buNone/>
            </a:pPr>
            <a:r>
              <a:rPr lang="en-GB" sz="1600" i="1" dirty="0" err="1"/>
              <a:t>Formålet</a:t>
            </a:r>
            <a:r>
              <a:rPr lang="en-GB" sz="1600" i="1" dirty="0"/>
              <a:t> med </a:t>
            </a:r>
            <a:r>
              <a:rPr lang="en-GB" sz="1600" i="1" dirty="0" err="1"/>
              <a:t>standarden</a:t>
            </a:r>
            <a:r>
              <a:rPr lang="en-GB" sz="1600" i="1" dirty="0"/>
              <a:t> </a:t>
            </a:r>
            <a:r>
              <a:rPr lang="en-GB" sz="1600" i="1" dirty="0" err="1"/>
              <a:t>er</a:t>
            </a:r>
            <a:r>
              <a:rPr lang="en-GB" sz="1600" i="1" dirty="0"/>
              <a:t> å </a:t>
            </a:r>
            <a:r>
              <a:rPr lang="en-GB" sz="1600" i="1" dirty="0" err="1"/>
              <a:t>legge</a:t>
            </a:r>
            <a:r>
              <a:rPr lang="en-GB" sz="1600" i="1" dirty="0"/>
              <a:t> et </a:t>
            </a:r>
            <a:r>
              <a:rPr lang="en-GB" sz="1600" i="1" dirty="0" err="1"/>
              <a:t>grunnlag</a:t>
            </a:r>
            <a:r>
              <a:rPr lang="en-GB" sz="1600" i="1" dirty="0"/>
              <a:t> for </a:t>
            </a:r>
            <a:r>
              <a:rPr lang="en-GB" sz="1600" i="1" dirty="0" err="1"/>
              <a:t>sikring</a:t>
            </a:r>
            <a:r>
              <a:rPr lang="en-GB" sz="1600" i="1" dirty="0"/>
              <a:t> </a:t>
            </a:r>
            <a:r>
              <a:rPr lang="en-GB" sz="1600" i="1" dirty="0" err="1"/>
              <a:t>av</a:t>
            </a:r>
            <a:r>
              <a:rPr lang="en-GB" sz="1600" i="1" dirty="0"/>
              <a:t> </a:t>
            </a:r>
            <a:r>
              <a:rPr lang="en-GB" sz="1600" i="1" dirty="0" err="1"/>
              <a:t>organenes</a:t>
            </a:r>
            <a:r>
              <a:rPr lang="en-GB" sz="1600" i="1" dirty="0"/>
              <a:t> </a:t>
            </a:r>
            <a:r>
              <a:rPr lang="en-GB" sz="1600" i="1" dirty="0" err="1"/>
              <a:t>arkiv</a:t>
            </a:r>
            <a:r>
              <a:rPr lang="en-GB" sz="1600" i="1" dirty="0"/>
              <a:t> for </a:t>
            </a:r>
            <a:r>
              <a:rPr lang="en-GB" sz="1600" i="1" dirty="0" err="1"/>
              <a:t>samtid</a:t>
            </a:r>
            <a:r>
              <a:rPr lang="en-GB" sz="1600" i="1" dirty="0"/>
              <a:t>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fremtid</a:t>
            </a:r>
            <a:r>
              <a:rPr lang="en-GB" sz="1600" i="1" dirty="0"/>
              <a:t>. </a:t>
            </a:r>
            <a:r>
              <a:rPr lang="en-GB" sz="1600" i="1" dirty="0" err="1"/>
              <a:t>Standarden</a:t>
            </a:r>
            <a:r>
              <a:rPr lang="en-GB" sz="1600" i="1" dirty="0"/>
              <a:t> </a:t>
            </a:r>
            <a:r>
              <a:rPr lang="en-GB" sz="1600" i="1" dirty="0" err="1"/>
              <a:t>skal</a:t>
            </a:r>
            <a:r>
              <a:rPr lang="en-GB" sz="1600" i="1" dirty="0"/>
              <a:t> </a:t>
            </a:r>
            <a:r>
              <a:rPr lang="en-GB" sz="1600" i="1" dirty="0" err="1"/>
              <a:t>bidra</a:t>
            </a:r>
            <a:r>
              <a:rPr lang="en-GB" sz="1600" i="1" dirty="0"/>
              <a:t> </a:t>
            </a:r>
            <a:r>
              <a:rPr lang="en-GB" sz="1600" i="1" dirty="0" err="1"/>
              <a:t>til</a:t>
            </a:r>
            <a:r>
              <a:rPr lang="en-GB" sz="1600" i="1" dirty="0"/>
              <a:t> </a:t>
            </a:r>
            <a:r>
              <a:rPr lang="en-GB" sz="1600" i="1" dirty="0" err="1"/>
              <a:t>enklere</a:t>
            </a:r>
            <a:r>
              <a:rPr lang="en-GB" sz="1600" i="1" dirty="0"/>
              <a:t>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sikrere</a:t>
            </a:r>
            <a:r>
              <a:rPr lang="en-GB" sz="1600" i="1" dirty="0"/>
              <a:t> </a:t>
            </a:r>
            <a:r>
              <a:rPr lang="en-GB" sz="1600" i="1" dirty="0" err="1"/>
              <a:t>kontroll</a:t>
            </a:r>
            <a:r>
              <a:rPr lang="en-GB" sz="1600" i="1" dirty="0"/>
              <a:t> med </a:t>
            </a:r>
            <a:r>
              <a:rPr lang="en-GB" sz="1600" i="1" dirty="0" err="1"/>
              <a:t>behandling</a:t>
            </a:r>
            <a:r>
              <a:rPr lang="en-GB" sz="1600" i="1" dirty="0"/>
              <a:t> </a:t>
            </a:r>
            <a:r>
              <a:rPr lang="en-GB" sz="1600" i="1" dirty="0" err="1"/>
              <a:t>av</a:t>
            </a:r>
            <a:r>
              <a:rPr lang="en-GB" sz="1600" i="1" dirty="0"/>
              <a:t> </a:t>
            </a:r>
            <a:r>
              <a:rPr lang="en-GB" sz="1600" i="1" dirty="0" err="1"/>
              <a:t>arkivdokumenter</a:t>
            </a:r>
            <a:r>
              <a:rPr lang="en-GB" sz="1600" i="1" dirty="0"/>
              <a:t>, </a:t>
            </a:r>
            <a:r>
              <a:rPr lang="en-GB" sz="1600" i="1" dirty="0" err="1"/>
              <a:t>og</a:t>
            </a:r>
            <a:r>
              <a:rPr lang="en-GB" sz="1600" i="1" dirty="0"/>
              <a:t> den </a:t>
            </a:r>
            <a:r>
              <a:rPr lang="en-GB" sz="1600" i="1" dirty="0" err="1"/>
              <a:t>inneholder</a:t>
            </a:r>
            <a:r>
              <a:rPr lang="en-GB" sz="1600" i="1" dirty="0"/>
              <a:t> </a:t>
            </a:r>
            <a:r>
              <a:rPr lang="en-GB" sz="1600" i="1" dirty="0" err="1"/>
              <a:t>derfor</a:t>
            </a:r>
            <a:r>
              <a:rPr lang="en-GB" sz="1600" i="1" dirty="0"/>
              <a:t> </a:t>
            </a:r>
            <a:r>
              <a:rPr lang="en-GB" sz="1600" i="1" dirty="0" err="1"/>
              <a:t>krav</a:t>
            </a:r>
            <a:r>
              <a:rPr lang="en-GB" sz="1600" i="1" dirty="0"/>
              <a:t> </a:t>
            </a:r>
            <a:r>
              <a:rPr lang="en-GB" sz="1600" i="1" dirty="0" err="1"/>
              <a:t>til</a:t>
            </a:r>
            <a:r>
              <a:rPr lang="en-GB" sz="1600" i="1" dirty="0"/>
              <a:t> </a:t>
            </a:r>
            <a:r>
              <a:rPr lang="en-GB" sz="1600" i="1" dirty="0" err="1"/>
              <a:t>fangst</a:t>
            </a:r>
            <a:r>
              <a:rPr lang="en-GB" sz="1600" i="1" dirty="0"/>
              <a:t>, </a:t>
            </a:r>
            <a:r>
              <a:rPr lang="en-GB" sz="1600" i="1" dirty="0" err="1"/>
              <a:t>forvaltning</a:t>
            </a:r>
            <a:r>
              <a:rPr lang="en-GB" sz="1600" i="1" dirty="0"/>
              <a:t>, </a:t>
            </a:r>
            <a:r>
              <a:rPr lang="en-GB" sz="1600" i="1" dirty="0" err="1"/>
              <a:t>bruk</a:t>
            </a:r>
            <a:r>
              <a:rPr lang="en-GB" sz="1600" i="1" dirty="0"/>
              <a:t>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avhending</a:t>
            </a:r>
            <a:r>
              <a:rPr lang="en-GB" sz="1600" i="1" dirty="0"/>
              <a:t> </a:t>
            </a:r>
            <a:r>
              <a:rPr lang="en-GB" sz="1600" i="1" dirty="0" err="1"/>
              <a:t>av</a:t>
            </a:r>
            <a:r>
              <a:rPr lang="en-GB" sz="1600" i="1" dirty="0"/>
              <a:t> </a:t>
            </a:r>
            <a:r>
              <a:rPr lang="en-GB" sz="1600" i="1" dirty="0" err="1"/>
              <a:t>dokumenter</a:t>
            </a:r>
            <a:r>
              <a:rPr lang="en-GB" sz="1600" i="1" dirty="0"/>
              <a:t>.</a:t>
            </a:r>
            <a:endParaRPr lang="nb-NO" sz="1600" i="1" dirty="0"/>
          </a:p>
          <a:p>
            <a:pPr marL="0" indent="0">
              <a:buNone/>
            </a:pPr>
            <a:endParaRPr lang="nb-NO" sz="900" i="1" dirty="0"/>
          </a:p>
          <a:p>
            <a:pPr marL="0" indent="0">
              <a:buNone/>
            </a:pPr>
            <a:r>
              <a:rPr lang="en-GB" sz="1600" i="1" dirty="0"/>
              <a:t>Den stiller </a:t>
            </a:r>
            <a:r>
              <a:rPr lang="en-GB" sz="1600" i="1" dirty="0" err="1"/>
              <a:t>krav</a:t>
            </a:r>
            <a:r>
              <a:rPr lang="en-GB" sz="1600" i="1" dirty="0"/>
              <a:t> </a:t>
            </a:r>
            <a:r>
              <a:rPr lang="en-GB" sz="1600" i="1" dirty="0" err="1"/>
              <a:t>til</a:t>
            </a:r>
            <a:r>
              <a:rPr lang="en-GB" sz="1600" i="1" dirty="0"/>
              <a:t> </a:t>
            </a:r>
            <a:r>
              <a:rPr lang="en-GB" sz="1600" i="1" dirty="0" err="1"/>
              <a:t>arkivstruktur</a:t>
            </a:r>
            <a:r>
              <a:rPr lang="en-GB" sz="1600" i="1" dirty="0"/>
              <a:t>, metadata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funksjonalitet</a:t>
            </a:r>
            <a:r>
              <a:rPr lang="en-GB" sz="1600" i="1" dirty="0"/>
              <a:t>,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er</a:t>
            </a:r>
            <a:r>
              <a:rPr lang="en-GB" sz="1600" i="1" dirty="0"/>
              <a:t> </a:t>
            </a:r>
            <a:r>
              <a:rPr lang="en-GB" sz="1600" i="1" dirty="0" err="1"/>
              <a:t>pålagt</a:t>
            </a:r>
            <a:r>
              <a:rPr lang="en-GB" sz="1600" i="1" dirty="0"/>
              <a:t> for </a:t>
            </a:r>
            <a:r>
              <a:rPr lang="en-GB" sz="1600" i="1" dirty="0" err="1"/>
              <a:t>journalføring</a:t>
            </a:r>
            <a:r>
              <a:rPr lang="en-GB" sz="1600" i="1" dirty="0"/>
              <a:t> </a:t>
            </a:r>
            <a:r>
              <a:rPr lang="en-GB" sz="1600" i="1" dirty="0" err="1"/>
              <a:t>og</a:t>
            </a:r>
            <a:r>
              <a:rPr lang="en-GB" sz="1600" i="1" dirty="0"/>
              <a:t> </a:t>
            </a:r>
            <a:r>
              <a:rPr lang="en-GB" sz="1600" i="1" dirty="0" err="1"/>
              <a:t>arkivering</a:t>
            </a:r>
            <a:r>
              <a:rPr lang="en-GB" sz="1600" i="1" dirty="0"/>
              <a:t> </a:t>
            </a:r>
            <a:r>
              <a:rPr lang="en-GB" sz="1600" i="1" dirty="0" err="1"/>
              <a:t>av</a:t>
            </a:r>
            <a:r>
              <a:rPr lang="en-GB" sz="1600" i="1" dirty="0"/>
              <a:t> </a:t>
            </a:r>
            <a:r>
              <a:rPr lang="en-GB" sz="1600" i="1" dirty="0" err="1"/>
              <a:t>elektroniske</a:t>
            </a:r>
            <a:r>
              <a:rPr lang="en-GB" sz="1600" i="1" dirty="0"/>
              <a:t> </a:t>
            </a:r>
            <a:r>
              <a:rPr lang="en-GB" sz="1600" i="1" dirty="0" err="1"/>
              <a:t>saksdokumenter</a:t>
            </a:r>
            <a:r>
              <a:rPr lang="en-GB" sz="1600" i="1" dirty="0"/>
              <a:t> </a:t>
            </a:r>
            <a:r>
              <a:rPr lang="en-GB" sz="1600" i="1" dirty="0" err="1"/>
              <a:t>i</a:t>
            </a:r>
            <a:r>
              <a:rPr lang="en-GB" sz="1600" i="1" dirty="0"/>
              <a:t> </a:t>
            </a:r>
            <a:r>
              <a:rPr lang="en-GB" sz="1600" i="1" dirty="0" err="1"/>
              <a:t>offentlige</a:t>
            </a:r>
            <a:r>
              <a:rPr lang="en-GB" sz="1600" i="1" dirty="0"/>
              <a:t> organ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E347EC-F20A-4076-87C3-67A5D4F6E59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Bakgrun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0F43C13-FF5E-410D-8EA9-F854E549705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ADD3FF-F0A5-4BBF-8EF2-03DD3EC1C55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8A3A3F-11B7-427D-9109-93B4F2CAB2B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9792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914800-5914-4B2C-AA22-35A499C84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oark har vært nyttig og viktig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852863-3F49-458B-AA55-BF9599C40894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 dirty="0"/>
              <a:t>Noark var et tidlig grep for å standardisere elektronisk dokumentasjonsforvaltning og arkivering</a:t>
            </a:r>
          </a:p>
          <a:p>
            <a:pPr lvl="1"/>
            <a:r>
              <a:rPr lang="nb-NO" dirty="0"/>
              <a:t>Kravspesifikasjon for journalføring og arkivstyring, uavhengig av maskin og programvare</a:t>
            </a:r>
          </a:p>
          <a:p>
            <a:r>
              <a:rPr lang="nb-NO" dirty="0"/>
              <a:t>En suksess til internasjonal inspirasjon</a:t>
            </a:r>
          </a:p>
          <a:p>
            <a:r>
              <a:rPr lang="nb-NO" dirty="0"/>
              <a:t>Har tilrettelagt for enklere informasjonsutveksling mellom systemer (mellom virksomheter og mellom virksomheter og innbyggere)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A814E0-4046-46C1-B838-DD67B541D49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Bakgrunn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E788482-80B5-4A36-8994-D5090300A86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96431CE-35FE-42C0-829C-B9A0E803A3F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F6C04F-3A26-4A31-A5A0-6D2D690C60B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501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27BBC7-AB2E-479D-AC46-0CDBF02AD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 mangfoldig digital verden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59E369B-EFC5-44A0-A07E-D430871728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Bakgrunn</a:t>
            </a:r>
            <a:endParaRPr lang="en-GB" dirty="0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F296AA69-B4B7-45AF-9C82-3444D91286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67694" y="1455738"/>
            <a:ext cx="6180755" cy="3275807"/>
          </a:xfrm>
        </p:spPr>
        <p:txBody>
          <a:bodyPr/>
          <a:lstStyle/>
          <a:p>
            <a:r>
              <a:rPr lang="nb-NO" dirty="0"/>
              <a:t>Digitalisering er ikke (og skal ikke være) kun «strøm på papir»</a:t>
            </a:r>
          </a:p>
          <a:p>
            <a:r>
              <a:rPr lang="nb-NO" dirty="0"/>
              <a:t>Vi fornyer, forenkler og forbedrer elektronisk forvaltning</a:t>
            </a:r>
            <a:endParaRPr lang="en-GB" dirty="0"/>
          </a:p>
          <a:p>
            <a:r>
              <a:rPr lang="nb-NO" dirty="0"/>
              <a:t>Dokumentasjon blir skapt på økende mangfoldige måter og i mangfoldige former</a:t>
            </a:r>
          </a:p>
          <a:p>
            <a:pPr lvl="1"/>
            <a:r>
              <a:rPr lang="nb-NO" dirty="0"/>
              <a:t>«Fagsystemer»</a:t>
            </a:r>
          </a:p>
          <a:p>
            <a:pPr lvl="1"/>
            <a:r>
              <a:rPr lang="nb-NO" dirty="0"/>
              <a:t>Arkivering uten journalføring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61B4C5C-9A2C-44D7-954A-20CBC80294E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E46539B-2B74-47F8-92BD-AC5FBFD8CEF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4C0865E-600F-4D9E-8D94-FF73DD9333C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5</a:t>
            </a:fld>
            <a:endParaRPr lang="nb-NO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74963B0-9937-47D1-8FED-76E0BF91AA9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80676" y="1476574"/>
            <a:ext cx="2263496" cy="320395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1E3B1E-33A4-47FB-9791-1F4B810E7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Kort om fun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3924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digital journalføring og arkivering i offentlig forvaltning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Noark har betydning for innkjøp av sak- og arkivsystemer</a:t>
            </a:r>
          </a:p>
          <a:p>
            <a:pPr marL="0" indent="0">
              <a:buNone/>
            </a:pPr>
            <a:endParaRPr lang="nb-NO" sz="900" b="1" dirty="0"/>
          </a:p>
          <a:p>
            <a:r>
              <a:rPr lang="nb-NO" dirty="0"/>
              <a:t>Godkjenningsordningen</a:t>
            </a:r>
          </a:p>
          <a:p>
            <a:pPr lvl="1"/>
            <a:r>
              <a:rPr lang="nb-NO" dirty="0"/>
              <a:t>Generell, midlertidig eller endelig godkjenning av type løsning</a:t>
            </a:r>
          </a:p>
          <a:p>
            <a:pPr lvl="1"/>
            <a:r>
              <a:rPr lang="nb-NO" dirty="0"/>
              <a:t>Ikke «sertifisering» og korresponderer ikke nødvendigvis til løsningene i bruk</a:t>
            </a:r>
          </a:p>
          <a:p>
            <a:pPr lvl="1"/>
            <a:endParaRPr lang="nb-NO" dirty="0"/>
          </a:p>
          <a:p>
            <a:r>
              <a:rPr lang="nb-NO" dirty="0"/>
              <a:t>Innkjøpere baserer seg i stor grad på (varianter av) </a:t>
            </a:r>
            <a:r>
              <a:rPr lang="nb-NO" dirty="0" err="1"/>
              <a:t>Noarks</a:t>
            </a:r>
            <a:r>
              <a:rPr lang="nb-NO" dirty="0"/>
              <a:t> kravspesifikasjon</a:t>
            </a:r>
          </a:p>
          <a:p>
            <a:pPr lvl="1"/>
            <a:r>
              <a:rPr lang="nb-NO" dirty="0"/>
              <a:t>Sterkt fokus på å fylle skal- og bør-krav </a:t>
            </a:r>
          </a:p>
          <a:p>
            <a:pPr lvl="1"/>
            <a:r>
              <a:rPr lang="nb-NO" dirty="0"/>
              <a:t>Noark blir et kommunikasjonsmiddel mellom innkjøper og leverandør</a:t>
            </a:r>
          </a:p>
          <a:p>
            <a:pPr marL="0" indent="0">
              <a:buNone/>
            </a:pPr>
            <a:endParaRPr lang="nb-NO" sz="900" dirty="0"/>
          </a:p>
          <a:p>
            <a:r>
              <a:rPr lang="nb-NO" dirty="0"/>
              <a:t>Mindre betydning for innkjøp av andre elektroniske løsninger (fagsystemer)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356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digital journalføring og arkivering i offentlig forvaltning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Det er </a:t>
            </a:r>
            <a:r>
              <a:rPr lang="nb-NO" b="1" i="1" dirty="0"/>
              <a:t>noe</a:t>
            </a:r>
            <a:r>
              <a:rPr lang="nb-NO" b="1" dirty="0"/>
              <a:t> konkurranse i markedet for sak- og arkivsystemer</a:t>
            </a:r>
          </a:p>
          <a:p>
            <a:pPr marL="0" indent="0">
              <a:buNone/>
            </a:pPr>
            <a:endParaRPr lang="nb-NO" sz="900" b="1" dirty="0"/>
          </a:p>
          <a:p>
            <a:r>
              <a:rPr lang="nb-NO" dirty="0"/>
              <a:t>Få leverandører</a:t>
            </a:r>
          </a:p>
          <a:p>
            <a:r>
              <a:rPr lang="nb-NO" dirty="0"/>
              <a:t>Hovedsakelig konkurranse på innkjøpspris</a:t>
            </a:r>
          </a:p>
          <a:p>
            <a:r>
              <a:rPr lang="nb-NO" dirty="0"/>
              <a:t>Noark er i noen grad en barriere for nye leverandører og vrir konkurransen vekk fra innovative løsninger</a:t>
            </a:r>
          </a:p>
          <a:p>
            <a:r>
              <a:rPr lang="nb-NO" dirty="0"/>
              <a:t>Etterspørselssiden er minst like viktig – kompetanse og vilje blant innkjøpere til å etterspørre innovative, brukervennlige løsninger</a:t>
            </a:r>
          </a:p>
          <a:p>
            <a:pPr lvl="1"/>
            <a:r>
              <a:rPr lang="nb-NO" dirty="0"/>
              <a:t>Medfører risiko for virksomheten</a:t>
            </a:r>
          </a:p>
          <a:p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0235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E6E9CB14-3E28-405B-B7B5-3606454146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åvirkning på digital journalføring og arkivering i offentlig forvaltning</a:t>
            </a:r>
            <a:endParaRPr lang="en-GB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D7A76BC2-E229-46A6-91C9-EF60357E5030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b="1" dirty="0"/>
              <a:t>Betydelige menger bevaringsverdig materiale går trolig tapt utenfor sak- og arkivsystemene</a:t>
            </a:r>
          </a:p>
          <a:p>
            <a:pPr marL="0" indent="0">
              <a:buNone/>
            </a:pPr>
            <a:endParaRPr lang="nb-NO" sz="900" b="1" dirty="0"/>
          </a:p>
          <a:p>
            <a:r>
              <a:rPr lang="nb-NO" dirty="0"/>
              <a:t>Manglende måloppnåelse</a:t>
            </a:r>
          </a:p>
          <a:p>
            <a:r>
              <a:rPr lang="nb-NO" dirty="0"/>
              <a:t>Noark fokuserer på korrespondanse og mindre på bakgrunnsmateriale</a:t>
            </a:r>
          </a:p>
          <a:p>
            <a:r>
              <a:rPr lang="nb-NO" dirty="0"/>
              <a:t>Kommunene har større antall ulike systemer, men dokumenter produseres i økende grad i ulike løsninger også på statlig nivå.</a:t>
            </a:r>
          </a:p>
          <a:p>
            <a:endParaRPr lang="nb-NO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BE49D6-F96B-428A-B362-177C58BEA9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ovedfunn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366896D-29DE-4C35-AB2A-BB99FDEF708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19.11.2018</a:t>
            </a:r>
            <a:endParaRPr lang="nb-NO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74E9ECB-01A6-45A7-AC75-CE9A200C50D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  <a:endParaRPr lang="nb-NO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30EBBFD-F80D-49A8-B4E5-7AB63194825F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71034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non Economics">
  <a:themeElements>
    <a:clrScheme name="Egendefinert 22">
      <a:dk1>
        <a:srgbClr val="000000"/>
      </a:dk1>
      <a:lt1>
        <a:srgbClr val="FFFFFF"/>
      </a:lt1>
      <a:dk2>
        <a:srgbClr val="C0C1BF"/>
      </a:dk2>
      <a:lt2>
        <a:srgbClr val="EFEEED"/>
      </a:lt2>
      <a:accent1>
        <a:srgbClr val="395775"/>
      </a:accent1>
      <a:accent2>
        <a:srgbClr val="D77F16"/>
      </a:accent2>
      <a:accent3>
        <a:srgbClr val="737B82"/>
      </a:accent3>
      <a:accent4>
        <a:srgbClr val="ACB3B8"/>
      </a:accent4>
      <a:accent5>
        <a:srgbClr val="A6B340"/>
      </a:accent5>
      <a:accent6>
        <a:srgbClr val="941100"/>
      </a:accent6>
      <a:hlink>
        <a:srgbClr val="0432FF"/>
      </a:hlink>
      <a:folHlink>
        <a:srgbClr val="75D5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2" id="{BA080ECF-CF79-45AF-82E4-88D6A1012855}" vid="{5BF167B9-5FCF-4E72-BB93-A4E9BF98C4F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ENON-MAL PPT 2017</Template>
  <TotalTime>1627</TotalTime>
  <Words>874</Words>
  <Application>Microsoft Office PowerPoint</Application>
  <PresentationFormat>Skjermfremvisning (16:9)</PresentationFormat>
  <Paragraphs>177</Paragraphs>
  <Slides>17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7</vt:i4>
      </vt:variant>
    </vt:vector>
  </HeadingPairs>
  <TitlesOfParts>
    <vt:vector size="22" baseType="lpstr">
      <vt:lpstr>.AppleSystemUIFont</vt:lpstr>
      <vt:lpstr>Arial</vt:lpstr>
      <vt:lpstr>Calibri</vt:lpstr>
      <vt:lpstr>Menon Economics</vt:lpstr>
      <vt:lpstr>think-cell Slide</vt:lpstr>
      <vt:lpstr>EVALUERING AV Norsk arkivstandard</vt:lpstr>
      <vt:lpstr>Om oppdraget</vt:lpstr>
      <vt:lpstr>Hva er formålet til Noark?</vt:lpstr>
      <vt:lpstr>Noark har vært nyttig og viktig</vt:lpstr>
      <vt:lpstr>En mangfoldig digital verden</vt:lpstr>
      <vt:lpstr>PowerPoint-presentasjon</vt:lpstr>
      <vt:lpstr>Påvirkning på digital journalføring og arkivering i offentlig forvaltning</vt:lpstr>
      <vt:lpstr>Påvirkning på digital journalføring og arkivering i offentlig forvaltning</vt:lpstr>
      <vt:lpstr>Påvirkning på digital journalføring og arkivering i offentlig forvaltning</vt:lpstr>
      <vt:lpstr>Påvirkning på avlevering</vt:lpstr>
      <vt:lpstr>Påvirkning på felleskomponenter og -løsninger</vt:lpstr>
      <vt:lpstr>Påvirkning på digitalisering i offentlig forvaltning mer generelt</vt:lpstr>
      <vt:lpstr>PowerPoint-presentasjon</vt:lpstr>
      <vt:lpstr>Anbefalinger</vt:lpstr>
      <vt:lpstr>Hva er formålet til Noark?</vt:lpstr>
      <vt:lpstr>Flere formål med samme middel har konsekvenser for måloppnåelse</vt:lpstr>
      <vt:lpstr>PowerPoint-presentasj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valuering av Noark5</dc:title>
  <dc:subject/>
  <dc:creator>Øyvind Nystad Handberg</dc:creator>
  <cp:keywords/>
  <dc:description/>
  <cp:lastModifiedBy>Mona Danielsen</cp:lastModifiedBy>
  <cp:revision>101</cp:revision>
  <cp:lastPrinted>2018-04-02T09:35:21Z</cp:lastPrinted>
  <dcterms:created xsi:type="dcterms:W3CDTF">2018-03-15T09:08:35Z</dcterms:created>
  <dcterms:modified xsi:type="dcterms:W3CDTF">2018-11-22T13:55:07Z</dcterms:modified>
  <cp:category/>
</cp:coreProperties>
</file>